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56" r:id="rId2"/>
  </p:sldMasterIdLst>
  <p:notesMasterIdLst>
    <p:notesMasterId r:id="rId11"/>
  </p:notesMasterIdLst>
  <p:sldIdLst>
    <p:sldId id="256" r:id="rId3"/>
    <p:sldId id="2147474119" r:id="rId4"/>
    <p:sldId id="2147474177" r:id="rId5"/>
    <p:sldId id="2147474180" r:id="rId6"/>
    <p:sldId id="257" r:id="rId7"/>
    <p:sldId id="2147474181" r:id="rId8"/>
    <p:sldId id="2147474182" r:id="rId9"/>
    <p:sldId id="2147474183" r:id="rId10"/>
  </p:sldIdLst>
  <p:sldSz cx="12195175" cy="6859588"/>
  <p:notesSz cx="6858000" cy="9144000"/>
  <p:defaultText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A0"/>
    <a:srgbClr val="0000FF"/>
    <a:srgbClr val="E5F2FF"/>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C42710-7CF0-4592-8799-EF3E27431635}" v="8" dt="2024-09-16T11:31:50.0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showGuides="1">
      <p:cViewPr varScale="1">
        <p:scale>
          <a:sx n="82" d="100"/>
          <a:sy n="82" d="100"/>
        </p:scale>
        <p:origin x="600" y="96"/>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slideMaster" Target="slideMasters/slideMaster2.xml"/><Relationship Id="rId1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lonen, Antti" userId="33be9583-c65a-436b-afef-40a2a3b089c1" providerId="ADAL" clId="{0CC42710-7CF0-4592-8799-EF3E27431635}"/>
    <pc:docChg chg="custSel addSld modSld sldOrd">
      <pc:chgData name="Tolonen, Antti" userId="33be9583-c65a-436b-afef-40a2a3b089c1" providerId="ADAL" clId="{0CC42710-7CF0-4592-8799-EF3E27431635}" dt="2024-09-17T08:54:24.794" v="791" actId="20577"/>
      <pc:docMkLst>
        <pc:docMk/>
      </pc:docMkLst>
      <pc:sldChg chg="modSp mod">
        <pc:chgData name="Tolonen, Antti" userId="33be9583-c65a-436b-afef-40a2a3b089c1" providerId="ADAL" clId="{0CC42710-7CF0-4592-8799-EF3E27431635}" dt="2024-09-16T10:29:24.187" v="513" actId="20577"/>
        <pc:sldMkLst>
          <pc:docMk/>
          <pc:sldMk cId="2893788574" sldId="256"/>
        </pc:sldMkLst>
        <pc:spChg chg="mod">
          <ac:chgData name="Tolonen, Antti" userId="33be9583-c65a-436b-afef-40a2a3b089c1" providerId="ADAL" clId="{0CC42710-7CF0-4592-8799-EF3E27431635}" dt="2024-09-16T10:28:42.199" v="393" actId="20577"/>
          <ac:spMkLst>
            <pc:docMk/>
            <pc:sldMk cId="2893788574" sldId="256"/>
            <ac:spMk id="2" creationId="{595BC6D1-6AF5-3CCA-73C2-1687CB1FC77F}"/>
          </ac:spMkLst>
        </pc:spChg>
        <pc:spChg chg="mod">
          <ac:chgData name="Tolonen, Antti" userId="33be9583-c65a-436b-afef-40a2a3b089c1" providerId="ADAL" clId="{0CC42710-7CF0-4592-8799-EF3E27431635}" dt="2024-09-16T10:29:03.513" v="453" actId="20577"/>
          <ac:spMkLst>
            <pc:docMk/>
            <pc:sldMk cId="2893788574" sldId="256"/>
            <ac:spMk id="3" creationId="{180CC6F2-54ED-0FF8-B8F3-608CC02D0E6C}"/>
          </ac:spMkLst>
        </pc:spChg>
        <pc:spChg chg="mod">
          <ac:chgData name="Tolonen, Antti" userId="33be9583-c65a-436b-afef-40a2a3b089c1" providerId="ADAL" clId="{0CC42710-7CF0-4592-8799-EF3E27431635}" dt="2024-09-16T10:29:24.187" v="513" actId="20577"/>
          <ac:spMkLst>
            <pc:docMk/>
            <pc:sldMk cId="2893788574" sldId="256"/>
            <ac:spMk id="4" creationId="{A5D62F62-0500-DBC9-CF70-3427C61CFE83}"/>
          </ac:spMkLst>
        </pc:spChg>
        <pc:spChg chg="mod">
          <ac:chgData name="Tolonen, Antti" userId="33be9583-c65a-436b-afef-40a2a3b089c1" providerId="ADAL" clId="{0CC42710-7CF0-4592-8799-EF3E27431635}" dt="2024-09-16T10:29:11.236" v="457" actId="20577"/>
          <ac:spMkLst>
            <pc:docMk/>
            <pc:sldMk cId="2893788574" sldId="256"/>
            <ac:spMk id="5" creationId="{E78422E2-9D9E-4468-1D35-852E1A2EC89A}"/>
          </ac:spMkLst>
        </pc:spChg>
      </pc:sldChg>
      <pc:sldChg chg="modSp mod">
        <pc:chgData name="Tolonen, Antti" userId="33be9583-c65a-436b-afef-40a2a3b089c1" providerId="ADAL" clId="{0CC42710-7CF0-4592-8799-EF3E27431635}" dt="2024-09-16T11:02:35.513" v="661" actId="20578"/>
        <pc:sldMkLst>
          <pc:docMk/>
          <pc:sldMk cId="2163053264" sldId="257"/>
        </pc:sldMkLst>
        <pc:spChg chg="mod">
          <ac:chgData name="Tolonen, Antti" userId="33be9583-c65a-436b-afef-40a2a3b089c1" providerId="ADAL" clId="{0CC42710-7CF0-4592-8799-EF3E27431635}" dt="2024-09-16T11:02:35.513" v="661" actId="20578"/>
          <ac:spMkLst>
            <pc:docMk/>
            <pc:sldMk cId="2163053264" sldId="257"/>
            <ac:spMk id="2" creationId="{651CD33C-09A7-4846-D75F-9D0EB9910597}"/>
          </ac:spMkLst>
        </pc:spChg>
        <pc:spChg chg="mod">
          <ac:chgData name="Tolonen, Antti" userId="33be9583-c65a-436b-afef-40a2a3b089c1" providerId="ADAL" clId="{0CC42710-7CF0-4592-8799-EF3E27431635}" dt="2024-09-16T10:53:47.133" v="609" actId="20577"/>
          <ac:spMkLst>
            <pc:docMk/>
            <pc:sldMk cId="2163053264" sldId="257"/>
            <ac:spMk id="3" creationId="{F59978D7-5398-AAE6-8B24-75D847F62ABB}"/>
          </ac:spMkLst>
        </pc:spChg>
      </pc:sldChg>
      <pc:sldChg chg="ord">
        <pc:chgData name="Tolonen, Antti" userId="33be9583-c65a-436b-afef-40a2a3b089c1" providerId="ADAL" clId="{0CC42710-7CF0-4592-8799-EF3E27431635}" dt="2024-09-13T11:39:14.168" v="283"/>
        <pc:sldMkLst>
          <pc:docMk/>
          <pc:sldMk cId="2265022207" sldId="2147474119"/>
        </pc:sldMkLst>
      </pc:sldChg>
      <pc:sldChg chg="modSp mod">
        <pc:chgData name="Tolonen, Antti" userId="33be9583-c65a-436b-afef-40a2a3b089c1" providerId="ADAL" clId="{0CC42710-7CF0-4592-8799-EF3E27431635}" dt="2024-09-17T08:54:24.794" v="791" actId="20577"/>
        <pc:sldMkLst>
          <pc:docMk/>
          <pc:sldMk cId="1400556723" sldId="2147474177"/>
        </pc:sldMkLst>
        <pc:spChg chg="mod">
          <ac:chgData name="Tolonen, Antti" userId="33be9583-c65a-436b-afef-40a2a3b089c1" providerId="ADAL" clId="{0CC42710-7CF0-4592-8799-EF3E27431635}" dt="2024-09-17T08:54:24.794" v="791" actId="20577"/>
          <ac:spMkLst>
            <pc:docMk/>
            <pc:sldMk cId="1400556723" sldId="2147474177"/>
            <ac:spMk id="4" creationId="{ED382583-3ABD-419B-9C96-81FCD4EB88C7}"/>
          </ac:spMkLst>
        </pc:spChg>
        <pc:spChg chg="mod">
          <ac:chgData name="Tolonen, Antti" userId="33be9583-c65a-436b-afef-40a2a3b089c1" providerId="ADAL" clId="{0CC42710-7CF0-4592-8799-EF3E27431635}" dt="2024-09-16T10:32:51.882" v="524" actId="114"/>
          <ac:spMkLst>
            <pc:docMk/>
            <pc:sldMk cId="1400556723" sldId="2147474177"/>
            <ac:spMk id="14" creationId="{02650B58-278C-C022-117C-514042989C33}"/>
          </ac:spMkLst>
        </pc:spChg>
      </pc:sldChg>
      <pc:sldChg chg="modSp mod">
        <pc:chgData name="Tolonen, Antti" userId="33be9583-c65a-436b-afef-40a2a3b089c1" providerId="ADAL" clId="{0CC42710-7CF0-4592-8799-EF3E27431635}" dt="2024-09-16T10:36:03.643" v="525" actId="255"/>
        <pc:sldMkLst>
          <pc:docMk/>
          <pc:sldMk cId="1778442570" sldId="2147474180"/>
        </pc:sldMkLst>
        <pc:spChg chg="mod">
          <ac:chgData name="Tolonen, Antti" userId="33be9583-c65a-436b-afef-40a2a3b089c1" providerId="ADAL" clId="{0CC42710-7CF0-4592-8799-EF3E27431635}" dt="2024-09-16T10:36:03.643" v="525" actId="255"/>
          <ac:spMkLst>
            <pc:docMk/>
            <pc:sldMk cId="1778442570" sldId="2147474180"/>
            <ac:spMk id="4" creationId="{ED382583-3ABD-419B-9C96-81FCD4EB88C7}"/>
          </ac:spMkLst>
        </pc:spChg>
      </pc:sldChg>
      <pc:sldChg chg="modSp new mod">
        <pc:chgData name="Tolonen, Antti" userId="33be9583-c65a-436b-afef-40a2a3b089c1" providerId="ADAL" clId="{0CC42710-7CF0-4592-8799-EF3E27431635}" dt="2024-09-16T11:46:53.062" v="790" actId="20577"/>
        <pc:sldMkLst>
          <pc:docMk/>
          <pc:sldMk cId="3556736396" sldId="2147474181"/>
        </pc:sldMkLst>
        <pc:spChg chg="mod">
          <ac:chgData name="Tolonen, Antti" userId="33be9583-c65a-436b-afef-40a2a3b089c1" providerId="ADAL" clId="{0CC42710-7CF0-4592-8799-EF3E27431635}" dt="2024-09-16T11:46:53.062" v="790" actId="20577"/>
          <ac:spMkLst>
            <pc:docMk/>
            <pc:sldMk cId="3556736396" sldId="2147474181"/>
            <ac:spMk id="2" creationId="{156A0510-E1B3-5CA4-89A0-428E5CB228B8}"/>
          </ac:spMkLst>
        </pc:spChg>
        <pc:spChg chg="mod">
          <ac:chgData name="Tolonen, Antti" userId="33be9583-c65a-436b-afef-40a2a3b089c1" providerId="ADAL" clId="{0CC42710-7CF0-4592-8799-EF3E27431635}" dt="2024-09-03T11:23:00.586" v="30" actId="20577"/>
          <ac:spMkLst>
            <pc:docMk/>
            <pc:sldMk cId="3556736396" sldId="2147474181"/>
            <ac:spMk id="4" creationId="{1F26A1BF-D697-0F61-14A3-EA59860AC505}"/>
          </ac:spMkLst>
        </pc:spChg>
      </pc:sldChg>
      <pc:sldChg chg="addSp delSp modSp new mod">
        <pc:chgData name="Tolonen, Antti" userId="33be9583-c65a-436b-afef-40a2a3b089c1" providerId="ADAL" clId="{0CC42710-7CF0-4592-8799-EF3E27431635}" dt="2024-09-16T11:31:57.999" v="736" actId="20577"/>
        <pc:sldMkLst>
          <pc:docMk/>
          <pc:sldMk cId="58127173" sldId="2147474182"/>
        </pc:sldMkLst>
        <pc:spChg chg="del">
          <ac:chgData name="Tolonen, Antti" userId="33be9583-c65a-436b-afef-40a2a3b089c1" providerId="ADAL" clId="{0CC42710-7CF0-4592-8799-EF3E27431635}" dt="2024-09-16T11:31:29.702" v="707"/>
          <ac:spMkLst>
            <pc:docMk/>
            <pc:sldMk cId="58127173" sldId="2147474182"/>
            <ac:spMk id="2" creationId="{6C311BFF-9526-CC4C-3925-7A5810EAE6DC}"/>
          </ac:spMkLst>
        </pc:spChg>
        <pc:spChg chg="mod">
          <ac:chgData name="Tolonen, Antti" userId="33be9583-c65a-436b-afef-40a2a3b089c1" providerId="ADAL" clId="{0CC42710-7CF0-4592-8799-EF3E27431635}" dt="2024-09-16T11:31:57.999" v="736" actId="20577"/>
          <ac:spMkLst>
            <pc:docMk/>
            <pc:sldMk cId="58127173" sldId="2147474182"/>
            <ac:spMk id="4" creationId="{B3AA94FE-87FB-FC2B-1E7D-1E77CFDBF375}"/>
          </ac:spMkLst>
        </pc:spChg>
        <pc:picChg chg="add mod">
          <ac:chgData name="Tolonen, Antti" userId="33be9583-c65a-436b-afef-40a2a3b089c1" providerId="ADAL" clId="{0CC42710-7CF0-4592-8799-EF3E27431635}" dt="2024-09-16T11:31:38.900" v="712" actId="14100"/>
          <ac:picMkLst>
            <pc:docMk/>
            <pc:sldMk cId="58127173" sldId="2147474182"/>
            <ac:picMk id="6" creationId="{9F5B9485-A5D0-973B-C3E8-079DD35BE8E3}"/>
          </ac:picMkLst>
        </pc:picChg>
      </pc:sldChg>
      <pc:sldChg chg="addSp delSp modSp new mod modClrScheme chgLayout">
        <pc:chgData name="Tolonen, Antti" userId="33be9583-c65a-436b-afef-40a2a3b089c1" providerId="ADAL" clId="{0CC42710-7CF0-4592-8799-EF3E27431635}" dt="2024-09-16T11:32:41.852" v="770" actId="478"/>
        <pc:sldMkLst>
          <pc:docMk/>
          <pc:sldMk cId="3710726645" sldId="2147474183"/>
        </pc:sldMkLst>
        <pc:spChg chg="del mod ord">
          <ac:chgData name="Tolonen, Antti" userId="33be9583-c65a-436b-afef-40a2a3b089c1" providerId="ADAL" clId="{0CC42710-7CF0-4592-8799-EF3E27431635}" dt="2024-09-16T11:32:22.058" v="738" actId="700"/>
          <ac:spMkLst>
            <pc:docMk/>
            <pc:sldMk cId="3710726645" sldId="2147474183"/>
            <ac:spMk id="2" creationId="{3DC2BF67-8323-4BDA-B27A-34C972DFB6C5}"/>
          </ac:spMkLst>
        </pc:spChg>
        <pc:spChg chg="mod ord">
          <ac:chgData name="Tolonen, Antti" userId="33be9583-c65a-436b-afef-40a2a3b089c1" providerId="ADAL" clId="{0CC42710-7CF0-4592-8799-EF3E27431635}" dt="2024-09-16T11:32:22.058" v="738" actId="700"/>
          <ac:spMkLst>
            <pc:docMk/>
            <pc:sldMk cId="3710726645" sldId="2147474183"/>
            <ac:spMk id="3" creationId="{783DC52B-61EE-6DD1-7980-77CEE929737F}"/>
          </ac:spMkLst>
        </pc:spChg>
        <pc:spChg chg="del mod ord">
          <ac:chgData name="Tolonen, Antti" userId="33be9583-c65a-436b-afef-40a2a3b089c1" providerId="ADAL" clId="{0CC42710-7CF0-4592-8799-EF3E27431635}" dt="2024-09-16T11:32:22.058" v="738" actId="700"/>
          <ac:spMkLst>
            <pc:docMk/>
            <pc:sldMk cId="3710726645" sldId="2147474183"/>
            <ac:spMk id="4" creationId="{7AF0AACB-2CA1-ECF4-5DAB-71B317CA5EFF}"/>
          </ac:spMkLst>
        </pc:spChg>
        <pc:spChg chg="add mod ord">
          <ac:chgData name="Tolonen, Antti" userId="33be9583-c65a-436b-afef-40a2a3b089c1" providerId="ADAL" clId="{0CC42710-7CF0-4592-8799-EF3E27431635}" dt="2024-09-16T11:32:27.408" v="746" actId="20577"/>
          <ac:spMkLst>
            <pc:docMk/>
            <pc:sldMk cId="3710726645" sldId="2147474183"/>
            <ac:spMk id="5" creationId="{A9A2F3DF-9281-D98D-7DF5-4DA64591AE54}"/>
          </ac:spMkLst>
        </pc:spChg>
        <pc:spChg chg="add mod ord">
          <ac:chgData name="Tolonen, Antti" userId="33be9583-c65a-436b-afef-40a2a3b089c1" providerId="ADAL" clId="{0CC42710-7CF0-4592-8799-EF3E27431635}" dt="2024-09-16T11:32:37.303" v="769" actId="20577"/>
          <ac:spMkLst>
            <pc:docMk/>
            <pc:sldMk cId="3710726645" sldId="2147474183"/>
            <ac:spMk id="6" creationId="{9174F197-8621-97A0-88A8-898323E242D8}"/>
          </ac:spMkLst>
        </pc:spChg>
        <pc:spChg chg="add del mod ord">
          <ac:chgData name="Tolonen, Antti" userId="33be9583-c65a-436b-afef-40a2a3b089c1" providerId="ADAL" clId="{0CC42710-7CF0-4592-8799-EF3E27431635}" dt="2024-09-16T11:32:41.852" v="770" actId="478"/>
          <ac:spMkLst>
            <pc:docMk/>
            <pc:sldMk cId="3710726645" sldId="2147474183"/>
            <ac:spMk id="7" creationId="{E69E756A-4B69-18BF-26B5-70904C90C16F}"/>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44A8032-89EB-4D13-922A-D9DAB7321F09}" type="datetimeFigureOut">
              <a:rPr lang="sv-SE" smtClean="0"/>
              <a:t>2024-09-17</a:t>
            </a:fld>
            <a:endParaRPr lang="sv-SE"/>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261AA99-6AE6-4252-9D49-BFACABC8D97C}" type="slidenum">
              <a:rPr lang="sv-SE" smtClean="0"/>
              <a:t>‹#›</a:t>
            </a:fld>
            <a:endParaRPr lang="sv-SE"/>
          </a:p>
        </p:txBody>
      </p:sp>
    </p:spTree>
    <p:extLst>
      <p:ext uri="{BB962C8B-B14F-4D97-AF65-F5344CB8AC3E}">
        <p14:creationId xmlns:p14="http://schemas.microsoft.com/office/powerpoint/2010/main" val="18181776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261AA99-6AE6-4252-9D49-BFACABC8D97C}" type="slidenum">
              <a:rPr lang="en-GB" smtClean="0"/>
              <a:t>1</a:t>
            </a:fld>
            <a:endParaRPr lang="en-GB" dirty="0"/>
          </a:p>
        </p:txBody>
      </p:sp>
    </p:spTree>
    <p:extLst>
      <p:ext uri="{BB962C8B-B14F-4D97-AF65-F5344CB8AC3E}">
        <p14:creationId xmlns:p14="http://schemas.microsoft.com/office/powerpoint/2010/main" val="2091445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1088776" rtl="0" eaLnBrk="1" fontAlgn="auto" latinLnBrk="0" hangingPunct="1">
              <a:lnSpc>
                <a:spcPct val="100000"/>
              </a:lnSpc>
              <a:spcBef>
                <a:spcPts val="0"/>
              </a:spcBef>
              <a:spcAft>
                <a:spcPts val="0"/>
              </a:spcAft>
              <a:buClrTx/>
              <a:buSzTx/>
              <a:buFontTx/>
              <a:buNone/>
              <a:tabLst/>
              <a:defRPr/>
            </a:pPr>
            <a:fld id="{1261AA99-6AE6-4252-9D49-BFACABC8D97C}"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776" rtl="0" eaLnBrk="1" fontAlgn="auto" latinLnBrk="0" hangingPunct="1">
                <a:lnSpc>
                  <a:spcPct val="100000"/>
                </a:lnSpc>
                <a:spcBef>
                  <a:spcPts val="0"/>
                </a:spcBef>
                <a:spcAft>
                  <a:spcPts val="0"/>
                </a:spcAft>
                <a:buClrTx/>
                <a:buSzTx/>
                <a:buFontTx/>
                <a:buNone/>
                <a:tabLst/>
                <a:defRPr/>
              </a:pPr>
              <a:t>2</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3478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1088776" rtl="0" eaLnBrk="1" fontAlgn="auto" latinLnBrk="0" hangingPunct="1">
              <a:lnSpc>
                <a:spcPct val="100000"/>
              </a:lnSpc>
              <a:spcBef>
                <a:spcPts val="0"/>
              </a:spcBef>
              <a:spcAft>
                <a:spcPts val="0"/>
              </a:spcAft>
              <a:buClrTx/>
              <a:buSzTx/>
              <a:buFontTx/>
              <a:buNone/>
              <a:tabLst/>
              <a:defRPr/>
            </a:pPr>
            <a:fld id="{1261AA99-6AE6-4252-9D49-BFACABC8D97C}"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776" rtl="0" eaLnBrk="1" fontAlgn="auto" latinLnBrk="0" hangingPunct="1">
                <a:lnSpc>
                  <a:spcPct val="100000"/>
                </a:lnSpc>
                <a:spcBef>
                  <a:spcPts val="0"/>
                </a:spcBef>
                <a:spcAft>
                  <a:spcPts val="0"/>
                </a:spcAft>
                <a:buClrTx/>
                <a:buSzTx/>
                <a:buFontTx/>
                <a:buNone/>
                <a:tabLst/>
                <a:defRPr/>
              </a:pPr>
              <a:t>3</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03772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1088776" rtl="0" eaLnBrk="1" fontAlgn="auto" latinLnBrk="0" hangingPunct="1">
              <a:lnSpc>
                <a:spcPct val="100000"/>
              </a:lnSpc>
              <a:spcBef>
                <a:spcPts val="0"/>
              </a:spcBef>
              <a:spcAft>
                <a:spcPts val="0"/>
              </a:spcAft>
              <a:buClrTx/>
              <a:buSzTx/>
              <a:buFontTx/>
              <a:buNone/>
              <a:tabLst/>
              <a:defRPr/>
            </a:pPr>
            <a:fld id="{1261AA99-6AE6-4252-9D49-BFACABC8D97C}"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776"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6484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261AA99-6AE6-4252-9D49-BFACABC8D97C}" type="slidenum">
              <a:rPr lang="en-GB" smtClean="0"/>
              <a:t>5</a:t>
            </a:fld>
            <a:endParaRPr lang="en-GB" dirty="0"/>
          </a:p>
        </p:txBody>
      </p:sp>
    </p:spTree>
    <p:extLst>
      <p:ext uri="{BB962C8B-B14F-4D97-AF65-F5344CB8AC3E}">
        <p14:creationId xmlns:p14="http://schemas.microsoft.com/office/powerpoint/2010/main" val="20226813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7999" y="1338262"/>
            <a:ext cx="5436000" cy="2472849"/>
          </a:xfrm>
        </p:spPr>
        <p:txBody>
          <a:bodyPr>
            <a:noAutofit/>
          </a:bodyPr>
          <a:lstStyle>
            <a:lvl1pPr>
              <a:defRPr sz="4000">
                <a:solidFill>
                  <a:srgbClr val="FBD9CA"/>
                </a:solidFill>
              </a:defRPr>
            </a:lvl1pPr>
          </a:lstStyle>
          <a:p>
            <a:r>
              <a:rPr lang="en-GB"/>
              <a:t>Click to edit Master title style</a:t>
            </a:r>
            <a:endParaRPr lang="en-GB" dirty="0"/>
          </a:p>
        </p:txBody>
      </p:sp>
      <p:sp>
        <p:nvSpPr>
          <p:cNvPr id="3" name="Subtitle 2"/>
          <p:cNvSpPr>
            <a:spLocks noGrp="1"/>
          </p:cNvSpPr>
          <p:nvPr>
            <p:ph type="subTitle" idx="1"/>
          </p:nvPr>
        </p:nvSpPr>
        <p:spPr>
          <a:xfrm>
            <a:off x="648000" y="4296176"/>
            <a:ext cx="5436000" cy="360083"/>
          </a:xfrm>
        </p:spPr>
        <p:txBody>
          <a:bodyPr>
            <a:noAutofit/>
          </a:bodyPr>
          <a:lstStyle>
            <a:lvl1pPr marL="0" indent="0" algn="l">
              <a:buNone/>
              <a:defRPr sz="1800" b="1">
                <a:solidFill>
                  <a:srgbClr val="FFFFFF"/>
                </a:solidFill>
                <a:latin typeface="+mj-lt"/>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21" name="Text Placeholder 20"/>
          <p:cNvSpPr>
            <a:spLocks noGrp="1"/>
          </p:cNvSpPr>
          <p:nvPr>
            <p:ph type="body" sz="quarter" idx="13" hasCustomPrompt="1"/>
          </p:nvPr>
        </p:nvSpPr>
        <p:spPr>
          <a:xfrm>
            <a:off x="648000" y="4774548"/>
            <a:ext cx="5436000" cy="216000"/>
          </a:xfrm>
        </p:spPr>
        <p:txBody>
          <a:bodyPr>
            <a:noAutofit/>
          </a:bodyPr>
          <a:lstStyle>
            <a:lvl1pPr marL="0" indent="0">
              <a:buNone/>
              <a:defRPr sz="14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endParaRPr lang="en-GB" dirty="0"/>
          </a:p>
        </p:txBody>
      </p:sp>
      <p:sp>
        <p:nvSpPr>
          <p:cNvPr id="22" name="Text Placeholder 20"/>
          <p:cNvSpPr>
            <a:spLocks noGrp="1"/>
          </p:cNvSpPr>
          <p:nvPr>
            <p:ph type="body" sz="quarter" idx="14" hasCustomPrompt="1"/>
          </p:nvPr>
        </p:nvSpPr>
        <p:spPr>
          <a:xfrm>
            <a:off x="648000" y="5026548"/>
            <a:ext cx="5436000" cy="216000"/>
          </a:xfrm>
        </p:spPr>
        <p:txBody>
          <a:bodyPr>
            <a:noAutofit/>
          </a:bodyPr>
          <a:lstStyle>
            <a:lvl1pPr marL="0" indent="0">
              <a:buNone/>
              <a:defRPr sz="14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endParaRPr lang="en-GB" dirty="0"/>
          </a:p>
        </p:txBody>
      </p:sp>
      <p:grpSp>
        <p:nvGrpSpPr>
          <p:cNvPr id="17" name="Pulse"/>
          <p:cNvGrpSpPr/>
          <p:nvPr userDrawn="1"/>
        </p:nvGrpSpPr>
        <p:grpSpPr>
          <a:xfrm>
            <a:off x="6964846" y="941098"/>
            <a:ext cx="5232032" cy="5299513"/>
            <a:chOff x="8751888" y="3030538"/>
            <a:chExt cx="3446462" cy="3490913"/>
          </a:xfrm>
          <a:solidFill>
            <a:schemeClr val="bg2"/>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Logotype">
            <a:extLst>
              <a:ext uri="{FF2B5EF4-FFF2-40B4-BE49-F238E27FC236}">
                <a16:creationId xmlns:a16="http://schemas.microsoft.com/office/drawing/2014/main" id="{F2A1CFCF-C62A-1DF6-FB43-F82B74AA7311}"/>
              </a:ext>
            </a:extLst>
          </p:cNvPr>
          <p:cNvSpPr>
            <a:spLocks noChangeAspect="1"/>
          </p:cNvSpPr>
          <p:nvPr userDrawn="1"/>
        </p:nvSpPr>
        <p:spPr>
          <a:xfrm>
            <a:off x="641350" y="530890"/>
            <a:ext cx="1386000" cy="288857"/>
          </a:xfrm>
          <a:custGeom>
            <a:avLst/>
            <a:gdLst>
              <a:gd name="connsiteX0" fmla="*/ 1189292 w 1295686"/>
              <a:gd name="connsiteY0" fmla="*/ 102299 h 270035"/>
              <a:gd name="connsiteX1" fmla="*/ 1128522 w 1295686"/>
              <a:gd name="connsiteY1" fmla="*/ 170593 h 270035"/>
              <a:gd name="connsiteX2" fmla="*/ 1181576 w 1295686"/>
              <a:gd name="connsiteY2" fmla="*/ 224219 h 270035"/>
              <a:gd name="connsiteX3" fmla="*/ 1250537 w 1295686"/>
              <a:gd name="connsiteY3" fmla="*/ 166688 h 270035"/>
              <a:gd name="connsiteX4" fmla="*/ 1250442 w 1295686"/>
              <a:gd name="connsiteY4" fmla="*/ 166688 h 270035"/>
              <a:gd name="connsiteX5" fmla="*/ 1250442 w 1295686"/>
              <a:gd name="connsiteY5" fmla="*/ 160306 h 270035"/>
              <a:gd name="connsiteX6" fmla="*/ 1189292 w 1295686"/>
              <a:gd name="connsiteY6" fmla="*/ 102299 h 270035"/>
              <a:gd name="connsiteX7" fmla="*/ 717519 w 1295686"/>
              <a:gd name="connsiteY7" fmla="*/ 102299 h 270035"/>
              <a:gd name="connsiteX8" fmla="*/ 656749 w 1295686"/>
              <a:gd name="connsiteY8" fmla="*/ 170593 h 270035"/>
              <a:gd name="connsiteX9" fmla="*/ 709803 w 1295686"/>
              <a:gd name="connsiteY9" fmla="*/ 224218 h 270035"/>
              <a:gd name="connsiteX10" fmla="*/ 778764 w 1295686"/>
              <a:gd name="connsiteY10" fmla="*/ 166687 h 270035"/>
              <a:gd name="connsiteX11" fmla="*/ 778669 w 1295686"/>
              <a:gd name="connsiteY11" fmla="*/ 166687 h 270035"/>
              <a:gd name="connsiteX12" fmla="*/ 778669 w 1295686"/>
              <a:gd name="connsiteY12" fmla="*/ 160306 h 270035"/>
              <a:gd name="connsiteX13" fmla="*/ 717519 w 1295686"/>
              <a:gd name="connsiteY13" fmla="*/ 102299 h 270035"/>
              <a:gd name="connsiteX14" fmla="*/ 366808 w 1295686"/>
              <a:gd name="connsiteY14" fmla="*/ 102299 h 270035"/>
              <a:gd name="connsiteX15" fmla="*/ 305657 w 1295686"/>
              <a:gd name="connsiteY15" fmla="*/ 163449 h 270035"/>
              <a:gd name="connsiteX16" fmla="*/ 366808 w 1295686"/>
              <a:gd name="connsiteY16" fmla="*/ 224600 h 270035"/>
              <a:gd name="connsiteX17" fmla="*/ 427958 w 1295686"/>
              <a:gd name="connsiteY17" fmla="*/ 163449 h 270035"/>
              <a:gd name="connsiteX18" fmla="*/ 366808 w 1295686"/>
              <a:gd name="connsiteY18" fmla="*/ 102299 h 270035"/>
              <a:gd name="connsiteX19" fmla="*/ 962039 w 1295686"/>
              <a:gd name="connsiteY19" fmla="*/ 96385 h 270035"/>
              <a:gd name="connsiteX20" fmla="*/ 938499 w 1295686"/>
              <a:gd name="connsiteY20" fmla="*/ 100585 h 270035"/>
              <a:gd name="connsiteX21" fmla="*/ 896779 w 1295686"/>
              <a:gd name="connsiteY21" fmla="*/ 159068 h 270035"/>
              <a:gd name="connsiteX22" fmla="*/ 896779 w 1295686"/>
              <a:gd name="connsiteY22" fmla="*/ 159164 h 270035"/>
              <a:gd name="connsiteX23" fmla="*/ 1011746 w 1295686"/>
              <a:gd name="connsiteY23" fmla="*/ 127541 h 270035"/>
              <a:gd name="connsiteX24" fmla="*/ 962039 w 1295686"/>
              <a:gd name="connsiteY24" fmla="*/ 96385 h 270035"/>
              <a:gd name="connsiteX25" fmla="*/ 1181005 w 1295686"/>
              <a:gd name="connsiteY25" fmla="*/ 57436 h 270035"/>
              <a:gd name="connsiteX26" fmla="*/ 1295686 w 1295686"/>
              <a:gd name="connsiteY26" fmla="*/ 165354 h 270035"/>
              <a:gd name="connsiteX27" fmla="*/ 1295686 w 1295686"/>
              <a:gd name="connsiteY27" fmla="*/ 266700 h 270035"/>
              <a:gd name="connsiteX28" fmla="*/ 1254538 w 1295686"/>
              <a:gd name="connsiteY28" fmla="*/ 266700 h 270035"/>
              <a:gd name="connsiteX29" fmla="*/ 1254538 w 1295686"/>
              <a:gd name="connsiteY29" fmla="*/ 235458 h 270035"/>
              <a:gd name="connsiteX30" fmla="*/ 1189292 w 1295686"/>
              <a:gd name="connsiteY30" fmla="*/ 269558 h 270035"/>
              <a:gd name="connsiteX31" fmla="*/ 1083278 w 1295686"/>
              <a:gd name="connsiteY31" fmla="*/ 156591 h 270035"/>
              <a:gd name="connsiteX32" fmla="*/ 1181005 w 1295686"/>
              <a:gd name="connsiteY32" fmla="*/ 57531 h 270035"/>
              <a:gd name="connsiteX33" fmla="*/ 956311 w 1295686"/>
              <a:gd name="connsiteY33" fmla="*/ 57246 h 270035"/>
              <a:gd name="connsiteX34" fmla="*/ 956311 w 1295686"/>
              <a:gd name="connsiteY34" fmla="*/ 57341 h 270035"/>
              <a:gd name="connsiteX35" fmla="*/ 1064134 w 1295686"/>
              <a:gd name="connsiteY35" fmla="*/ 151924 h 270035"/>
              <a:gd name="connsiteX36" fmla="*/ 904876 w 1295686"/>
              <a:gd name="connsiteY36" fmla="*/ 195359 h 270035"/>
              <a:gd name="connsiteX37" fmla="*/ 970503 w 1295686"/>
              <a:gd name="connsiteY37" fmla="*/ 227172 h 270035"/>
              <a:gd name="connsiteX38" fmla="*/ 1016413 w 1295686"/>
              <a:gd name="connsiteY38" fmla="*/ 191930 h 270035"/>
              <a:gd name="connsiteX39" fmla="*/ 1057371 w 1295686"/>
              <a:gd name="connsiteY39" fmla="*/ 204121 h 270035"/>
              <a:gd name="connsiteX40" fmla="*/ 958787 w 1295686"/>
              <a:gd name="connsiteY40" fmla="*/ 270035 h 270035"/>
              <a:gd name="connsiteX41" fmla="*/ 852488 w 1295686"/>
              <a:gd name="connsiteY41" fmla="*/ 164593 h 270035"/>
              <a:gd name="connsiteX42" fmla="*/ 956311 w 1295686"/>
              <a:gd name="connsiteY42" fmla="*/ 57246 h 270035"/>
              <a:gd name="connsiteX43" fmla="*/ 366903 w 1295686"/>
              <a:gd name="connsiteY43" fmla="*/ 57055 h 270035"/>
              <a:gd name="connsiteX44" fmla="*/ 473298 w 1295686"/>
              <a:gd name="connsiteY44" fmla="*/ 163449 h 270035"/>
              <a:gd name="connsiteX45" fmla="*/ 366903 w 1295686"/>
              <a:gd name="connsiteY45" fmla="*/ 269844 h 270035"/>
              <a:gd name="connsiteX46" fmla="*/ 260509 w 1295686"/>
              <a:gd name="connsiteY46" fmla="*/ 163449 h 270035"/>
              <a:gd name="connsiteX47" fmla="*/ 366903 w 1295686"/>
              <a:gd name="connsiteY47" fmla="*/ 57055 h 270035"/>
              <a:gd name="connsiteX48" fmla="*/ 605885 w 1295686"/>
              <a:gd name="connsiteY48" fmla="*/ 56769 h 270035"/>
              <a:gd name="connsiteX49" fmla="*/ 605885 w 1295686"/>
              <a:gd name="connsiteY49" fmla="*/ 100393 h 270035"/>
              <a:gd name="connsiteX50" fmla="*/ 605981 w 1295686"/>
              <a:gd name="connsiteY50" fmla="*/ 100393 h 270035"/>
              <a:gd name="connsiteX51" fmla="*/ 547307 w 1295686"/>
              <a:gd name="connsiteY51" fmla="*/ 167164 h 270035"/>
              <a:gd name="connsiteX52" fmla="*/ 547402 w 1295686"/>
              <a:gd name="connsiteY52" fmla="*/ 266795 h 270035"/>
              <a:gd name="connsiteX53" fmla="*/ 500920 w 1295686"/>
              <a:gd name="connsiteY53" fmla="*/ 266795 h 270035"/>
              <a:gd name="connsiteX54" fmla="*/ 500920 w 1295686"/>
              <a:gd name="connsiteY54" fmla="*/ 63722 h 270035"/>
              <a:gd name="connsiteX55" fmla="*/ 546164 w 1295686"/>
              <a:gd name="connsiteY55" fmla="*/ 63722 h 270035"/>
              <a:gd name="connsiteX56" fmla="*/ 546164 w 1295686"/>
              <a:gd name="connsiteY56" fmla="*/ 87154 h 270035"/>
              <a:gd name="connsiteX57" fmla="*/ 605885 w 1295686"/>
              <a:gd name="connsiteY57" fmla="*/ 56769 h 270035"/>
              <a:gd name="connsiteX58" fmla="*/ 0 w 1295686"/>
              <a:gd name="connsiteY58" fmla="*/ 21622 h 270035"/>
              <a:gd name="connsiteX59" fmla="*/ 47339 w 1295686"/>
              <a:gd name="connsiteY59" fmla="*/ 21622 h 270035"/>
              <a:gd name="connsiteX60" fmla="*/ 186214 w 1295686"/>
              <a:gd name="connsiteY60" fmla="*/ 185166 h 270035"/>
              <a:gd name="connsiteX61" fmla="*/ 186214 w 1295686"/>
              <a:gd name="connsiteY61" fmla="*/ 21622 h 270035"/>
              <a:gd name="connsiteX62" fmla="*/ 233077 w 1295686"/>
              <a:gd name="connsiteY62" fmla="*/ 21622 h 270035"/>
              <a:gd name="connsiteX63" fmla="*/ 232982 w 1295686"/>
              <a:gd name="connsiteY63" fmla="*/ 266700 h 270035"/>
              <a:gd name="connsiteX64" fmla="*/ 189548 w 1295686"/>
              <a:gd name="connsiteY64" fmla="*/ 266700 h 270035"/>
              <a:gd name="connsiteX65" fmla="*/ 48959 w 1295686"/>
              <a:gd name="connsiteY65" fmla="*/ 102680 h 270035"/>
              <a:gd name="connsiteX66" fmla="*/ 48959 w 1295686"/>
              <a:gd name="connsiteY66" fmla="*/ 266414 h 270035"/>
              <a:gd name="connsiteX67" fmla="*/ 0 w 1295686"/>
              <a:gd name="connsiteY67" fmla="*/ 266414 h 270035"/>
              <a:gd name="connsiteX68" fmla="*/ 780098 w 1295686"/>
              <a:gd name="connsiteY68" fmla="*/ 0 h 270035"/>
              <a:gd name="connsiteX69" fmla="*/ 823722 w 1295686"/>
              <a:gd name="connsiteY69" fmla="*/ 0 h 270035"/>
              <a:gd name="connsiteX70" fmla="*/ 823722 w 1295686"/>
              <a:gd name="connsiteY70" fmla="*/ 161449 h 270035"/>
              <a:gd name="connsiteX71" fmla="*/ 823722 w 1295686"/>
              <a:gd name="connsiteY71" fmla="*/ 163449 h 270035"/>
              <a:gd name="connsiteX72" fmla="*/ 823722 w 1295686"/>
              <a:gd name="connsiteY72" fmla="*/ 165449 h 270035"/>
              <a:gd name="connsiteX73" fmla="*/ 823722 w 1295686"/>
              <a:gd name="connsiteY73" fmla="*/ 266795 h 270035"/>
              <a:gd name="connsiteX74" fmla="*/ 782765 w 1295686"/>
              <a:gd name="connsiteY74" fmla="*/ 266795 h 270035"/>
              <a:gd name="connsiteX75" fmla="*/ 782765 w 1295686"/>
              <a:gd name="connsiteY75" fmla="*/ 239649 h 270035"/>
              <a:gd name="connsiteX76" fmla="*/ 717519 w 1295686"/>
              <a:gd name="connsiteY76" fmla="*/ 269748 h 270035"/>
              <a:gd name="connsiteX77" fmla="*/ 611505 w 1295686"/>
              <a:gd name="connsiteY77" fmla="*/ 156591 h 270035"/>
              <a:gd name="connsiteX78" fmla="*/ 709232 w 1295686"/>
              <a:gd name="connsiteY78" fmla="*/ 57531 h 270035"/>
              <a:gd name="connsiteX79" fmla="*/ 780098 w 1295686"/>
              <a:gd name="connsiteY79" fmla="*/ 79819 h 27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95686" h="270035">
                <a:moveTo>
                  <a:pt x="1189292" y="102299"/>
                </a:moveTo>
                <a:cubicBezTo>
                  <a:pt x="1153192" y="102299"/>
                  <a:pt x="1124426" y="133636"/>
                  <a:pt x="1128522" y="170593"/>
                </a:cubicBezTo>
                <a:cubicBezTo>
                  <a:pt x="1131665" y="198215"/>
                  <a:pt x="1153859" y="220790"/>
                  <a:pt x="1181576" y="224219"/>
                </a:cubicBezTo>
                <a:cubicBezTo>
                  <a:pt x="1217771" y="228695"/>
                  <a:pt x="1248728" y="201549"/>
                  <a:pt x="1250537" y="166688"/>
                </a:cubicBezTo>
                <a:lnTo>
                  <a:pt x="1250442" y="166688"/>
                </a:lnTo>
                <a:lnTo>
                  <a:pt x="1250442" y="160306"/>
                </a:lnTo>
                <a:cubicBezTo>
                  <a:pt x="1248728" y="128016"/>
                  <a:pt x="1222058" y="102299"/>
                  <a:pt x="1189292" y="102299"/>
                </a:cubicBezTo>
                <a:close/>
                <a:moveTo>
                  <a:pt x="717519" y="102299"/>
                </a:moveTo>
                <a:cubicBezTo>
                  <a:pt x="681419" y="102299"/>
                  <a:pt x="652653" y="133636"/>
                  <a:pt x="656749" y="170593"/>
                </a:cubicBezTo>
                <a:cubicBezTo>
                  <a:pt x="659892" y="198215"/>
                  <a:pt x="682086" y="220789"/>
                  <a:pt x="709803" y="224218"/>
                </a:cubicBezTo>
                <a:cubicBezTo>
                  <a:pt x="745998" y="228695"/>
                  <a:pt x="776955" y="201549"/>
                  <a:pt x="778764" y="166687"/>
                </a:cubicBezTo>
                <a:lnTo>
                  <a:pt x="778669" y="166687"/>
                </a:lnTo>
                <a:lnTo>
                  <a:pt x="778669" y="160306"/>
                </a:lnTo>
                <a:cubicBezTo>
                  <a:pt x="776955" y="128016"/>
                  <a:pt x="750285" y="102299"/>
                  <a:pt x="717519" y="102299"/>
                </a:cubicBezTo>
                <a:close/>
                <a:moveTo>
                  <a:pt x="366808" y="102299"/>
                </a:moveTo>
                <a:cubicBezTo>
                  <a:pt x="333089" y="102299"/>
                  <a:pt x="305657" y="129731"/>
                  <a:pt x="305657" y="163449"/>
                </a:cubicBezTo>
                <a:cubicBezTo>
                  <a:pt x="305657" y="197168"/>
                  <a:pt x="332994" y="224600"/>
                  <a:pt x="366808" y="224600"/>
                </a:cubicBezTo>
                <a:cubicBezTo>
                  <a:pt x="400527" y="224600"/>
                  <a:pt x="427958" y="197168"/>
                  <a:pt x="427958" y="163449"/>
                </a:cubicBezTo>
                <a:cubicBezTo>
                  <a:pt x="427958" y="129731"/>
                  <a:pt x="400527" y="102299"/>
                  <a:pt x="366808" y="102299"/>
                </a:cubicBezTo>
                <a:close/>
                <a:moveTo>
                  <a:pt x="962039" y="96385"/>
                </a:moveTo>
                <a:cubicBezTo>
                  <a:pt x="954578" y="96227"/>
                  <a:pt x="946666" y="97513"/>
                  <a:pt x="938499" y="100585"/>
                </a:cubicBezTo>
                <a:cubicBezTo>
                  <a:pt x="909733" y="111348"/>
                  <a:pt x="896779" y="136875"/>
                  <a:pt x="896779" y="159068"/>
                </a:cubicBezTo>
                <a:lnTo>
                  <a:pt x="896779" y="159164"/>
                </a:lnTo>
                <a:lnTo>
                  <a:pt x="1011746" y="127541"/>
                </a:lnTo>
                <a:cubicBezTo>
                  <a:pt x="1002744" y="110324"/>
                  <a:pt x="984421" y="96858"/>
                  <a:pt x="962039" y="96385"/>
                </a:cubicBezTo>
                <a:close/>
                <a:moveTo>
                  <a:pt x="1181005" y="57436"/>
                </a:moveTo>
                <a:cubicBezTo>
                  <a:pt x="1242060" y="52673"/>
                  <a:pt x="1295686" y="99346"/>
                  <a:pt x="1295686" y="165354"/>
                </a:cubicBezTo>
                <a:lnTo>
                  <a:pt x="1295686" y="266700"/>
                </a:lnTo>
                <a:lnTo>
                  <a:pt x="1254538" y="266700"/>
                </a:lnTo>
                <a:lnTo>
                  <a:pt x="1254538" y="235458"/>
                </a:lnTo>
                <a:cubicBezTo>
                  <a:pt x="1241108" y="258604"/>
                  <a:pt x="1211295" y="269558"/>
                  <a:pt x="1189292" y="269558"/>
                </a:cubicBezTo>
                <a:cubicBezTo>
                  <a:pt x="1128332" y="269558"/>
                  <a:pt x="1079373" y="218408"/>
                  <a:pt x="1083278" y="156591"/>
                </a:cubicBezTo>
                <a:cubicBezTo>
                  <a:pt x="1086612" y="104299"/>
                  <a:pt x="1128236" y="61627"/>
                  <a:pt x="1181005" y="57531"/>
                </a:cubicBezTo>
                <a:close/>
                <a:moveTo>
                  <a:pt x="956311" y="57246"/>
                </a:moveTo>
                <a:lnTo>
                  <a:pt x="956311" y="57341"/>
                </a:lnTo>
                <a:cubicBezTo>
                  <a:pt x="1023557" y="55436"/>
                  <a:pt x="1059466" y="111062"/>
                  <a:pt x="1064134" y="151924"/>
                </a:cubicBezTo>
                <a:lnTo>
                  <a:pt x="904876" y="195359"/>
                </a:lnTo>
                <a:cubicBezTo>
                  <a:pt x="915258" y="214980"/>
                  <a:pt x="941737" y="232506"/>
                  <a:pt x="970503" y="227172"/>
                </a:cubicBezTo>
                <a:cubicBezTo>
                  <a:pt x="991077" y="223267"/>
                  <a:pt x="1008984" y="208693"/>
                  <a:pt x="1016413" y="191930"/>
                </a:cubicBezTo>
                <a:lnTo>
                  <a:pt x="1057371" y="204121"/>
                </a:lnTo>
                <a:cubicBezTo>
                  <a:pt x="1041274" y="244889"/>
                  <a:pt x="1000507" y="270035"/>
                  <a:pt x="958787" y="270035"/>
                </a:cubicBezTo>
                <a:cubicBezTo>
                  <a:pt x="898970" y="270035"/>
                  <a:pt x="852488" y="222029"/>
                  <a:pt x="852488" y="164593"/>
                </a:cubicBezTo>
                <a:cubicBezTo>
                  <a:pt x="852488" y="102299"/>
                  <a:pt x="900494" y="58770"/>
                  <a:pt x="956311" y="57246"/>
                </a:cubicBezTo>
                <a:close/>
                <a:moveTo>
                  <a:pt x="366903" y="57055"/>
                </a:moveTo>
                <a:cubicBezTo>
                  <a:pt x="425673" y="57055"/>
                  <a:pt x="473298" y="104680"/>
                  <a:pt x="473298" y="163449"/>
                </a:cubicBezTo>
                <a:cubicBezTo>
                  <a:pt x="473298" y="222219"/>
                  <a:pt x="425673" y="269844"/>
                  <a:pt x="366903" y="269844"/>
                </a:cubicBezTo>
                <a:cubicBezTo>
                  <a:pt x="308134" y="269844"/>
                  <a:pt x="260509" y="222219"/>
                  <a:pt x="260509" y="163449"/>
                </a:cubicBezTo>
                <a:cubicBezTo>
                  <a:pt x="260509" y="104680"/>
                  <a:pt x="308134" y="57055"/>
                  <a:pt x="366903" y="57055"/>
                </a:cubicBezTo>
                <a:close/>
                <a:moveTo>
                  <a:pt x="605885" y="56769"/>
                </a:moveTo>
                <a:lnTo>
                  <a:pt x="605885" y="100393"/>
                </a:lnTo>
                <a:lnTo>
                  <a:pt x="605981" y="100393"/>
                </a:lnTo>
                <a:cubicBezTo>
                  <a:pt x="574453" y="102013"/>
                  <a:pt x="547307" y="120301"/>
                  <a:pt x="547307" y="167164"/>
                </a:cubicBezTo>
                <a:cubicBezTo>
                  <a:pt x="547307" y="205073"/>
                  <a:pt x="547402" y="204025"/>
                  <a:pt x="547402" y="266795"/>
                </a:cubicBezTo>
                <a:lnTo>
                  <a:pt x="500920" y="266795"/>
                </a:lnTo>
                <a:lnTo>
                  <a:pt x="500920" y="63722"/>
                </a:lnTo>
                <a:lnTo>
                  <a:pt x="546164" y="63722"/>
                </a:lnTo>
                <a:lnTo>
                  <a:pt x="546164" y="87154"/>
                </a:lnTo>
                <a:cubicBezTo>
                  <a:pt x="552069" y="76295"/>
                  <a:pt x="566166" y="56769"/>
                  <a:pt x="605885" y="56769"/>
                </a:cubicBezTo>
                <a:close/>
                <a:moveTo>
                  <a:pt x="0" y="21622"/>
                </a:moveTo>
                <a:lnTo>
                  <a:pt x="47339" y="21622"/>
                </a:lnTo>
                <a:lnTo>
                  <a:pt x="186214" y="185166"/>
                </a:lnTo>
                <a:lnTo>
                  <a:pt x="186214" y="21622"/>
                </a:lnTo>
                <a:lnTo>
                  <a:pt x="233077" y="21622"/>
                </a:lnTo>
                <a:lnTo>
                  <a:pt x="232982" y="266700"/>
                </a:lnTo>
                <a:lnTo>
                  <a:pt x="189548" y="266700"/>
                </a:lnTo>
                <a:lnTo>
                  <a:pt x="48959" y="102680"/>
                </a:lnTo>
                <a:lnTo>
                  <a:pt x="48959" y="266414"/>
                </a:lnTo>
                <a:lnTo>
                  <a:pt x="0" y="266414"/>
                </a:lnTo>
                <a:close/>
                <a:moveTo>
                  <a:pt x="780098" y="0"/>
                </a:moveTo>
                <a:lnTo>
                  <a:pt x="823722" y="0"/>
                </a:lnTo>
                <a:lnTo>
                  <a:pt x="823722" y="161449"/>
                </a:lnTo>
                <a:cubicBezTo>
                  <a:pt x="823722" y="162115"/>
                  <a:pt x="823722" y="162782"/>
                  <a:pt x="823722" y="163449"/>
                </a:cubicBezTo>
                <a:cubicBezTo>
                  <a:pt x="823722" y="164116"/>
                  <a:pt x="823722" y="164783"/>
                  <a:pt x="823722" y="165449"/>
                </a:cubicBezTo>
                <a:lnTo>
                  <a:pt x="823722" y="266795"/>
                </a:lnTo>
                <a:cubicBezTo>
                  <a:pt x="823722" y="266795"/>
                  <a:pt x="782765" y="266795"/>
                  <a:pt x="782765" y="266795"/>
                </a:cubicBezTo>
                <a:lnTo>
                  <a:pt x="782765" y="239649"/>
                </a:lnTo>
                <a:cubicBezTo>
                  <a:pt x="771906" y="258889"/>
                  <a:pt x="740283" y="269748"/>
                  <a:pt x="717519" y="269748"/>
                </a:cubicBezTo>
                <a:cubicBezTo>
                  <a:pt x="656559" y="269748"/>
                  <a:pt x="607600" y="218408"/>
                  <a:pt x="611505" y="156591"/>
                </a:cubicBezTo>
                <a:cubicBezTo>
                  <a:pt x="614839" y="104299"/>
                  <a:pt x="656940" y="61722"/>
                  <a:pt x="709232" y="57531"/>
                </a:cubicBezTo>
                <a:cubicBezTo>
                  <a:pt x="737235" y="55245"/>
                  <a:pt x="769716" y="66104"/>
                  <a:pt x="780098" y="79819"/>
                </a:cubicBezTo>
                <a:close/>
              </a:path>
            </a:pathLst>
          </a:custGeom>
          <a:solidFill>
            <a:schemeClr val="bg1"/>
          </a:soli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414857287"/>
      </p:ext>
    </p:extLst>
  </p:cSld>
  <p:clrMapOvr>
    <a:masterClrMapping/>
  </p:clrMapOvr>
  <p:hf hdr="0" ft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ink">
    <p:bg>
      <p:bgPr>
        <a:solidFill>
          <a:srgbClr val="FDECE4"/>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5"/>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4" name="Title 3"/>
          <p:cNvSpPr>
            <a:spLocks noGrp="1"/>
          </p:cNvSpPr>
          <p:nvPr>
            <p:ph type="title"/>
          </p:nvPr>
        </p:nvSpPr>
        <p:spPr/>
        <p:txBody>
          <a:bodyPr/>
          <a:lstStyle/>
          <a:p>
            <a:r>
              <a:rPr lang="en-GB"/>
              <a:t>Click to edit Master title style</a:t>
            </a:r>
            <a:endParaRPr lang="en-GB" dirty="0"/>
          </a:p>
        </p:txBody>
      </p:sp>
      <p:sp>
        <p:nvSpPr>
          <p:cNvPr id="5" name="Footer Placeholder 4"/>
          <p:cNvSpPr>
            <a:spLocks noGrp="1"/>
          </p:cNvSpPr>
          <p:nvPr>
            <p:ph type="ftr" sz="quarter" idx="13"/>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632708182"/>
      </p:ext>
    </p:extLst>
  </p:cSld>
  <p:clrMapOvr>
    <a:masterClrMapping/>
  </p:clrMapOvr>
  <p:hf hdr="0" ft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w Text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546E101-B12A-350C-C307-F9B978F274A5}"/>
              </a:ext>
            </a:extLst>
          </p:cNvPr>
          <p:cNvSpPr/>
          <p:nvPr userDrawn="1"/>
        </p:nvSpPr>
        <p:spPr>
          <a:xfrm>
            <a:off x="8189553" y="0"/>
            <a:ext cx="4010400" cy="6859588"/>
          </a:xfrm>
          <a:prstGeom prst="rect">
            <a:avLst/>
          </a:prstGeom>
          <a:solidFill>
            <a:srgbClr val="E5F2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2" name="Title 1"/>
          <p:cNvSpPr>
            <a:spLocks noGrp="1"/>
          </p:cNvSpPr>
          <p:nvPr>
            <p:ph type="title"/>
          </p:nvPr>
        </p:nvSpPr>
        <p:spPr/>
        <p:txBody>
          <a:bodyPr/>
          <a:lstStyle/>
          <a:p>
            <a:r>
              <a:rPr lang="en-GB"/>
              <a:t>Click to edit Master title style</a:t>
            </a:r>
            <a:endParaRPr lang="en-GB" dirty="0"/>
          </a:p>
        </p:txBody>
      </p:sp>
      <p:sp>
        <p:nvSpPr>
          <p:cNvPr id="3" name="Content Placeholder 2"/>
          <p:cNvSpPr>
            <a:spLocks noGrp="1"/>
          </p:cNvSpPr>
          <p:nvPr>
            <p:ph idx="1"/>
          </p:nvPr>
        </p:nvSpPr>
        <p:spPr>
          <a:xfrm>
            <a:off x="647999" y="1332000"/>
            <a:ext cx="7200000" cy="4428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5"/>
          <p:cNvSpPr>
            <a:spLocks noGrp="1"/>
          </p:cNvSpPr>
          <p:nvPr>
            <p:ph type="sldNum" sz="quarter" idx="12"/>
          </p:nvPr>
        </p:nvSpPr>
        <p:spPr/>
        <p:txBody>
          <a:bodyPr/>
          <a:lstStyle/>
          <a:p>
            <a:fld id="{D14BCCD3-0010-4FBA-B965-2126ADC31932}" type="slidenum">
              <a:rPr lang="en-GB" smtClean="0"/>
              <a:t>‹#›</a:t>
            </a:fld>
            <a:endParaRPr lang="en-GB" dirty="0"/>
          </a:p>
        </p:txBody>
      </p:sp>
      <p:sp>
        <p:nvSpPr>
          <p:cNvPr id="4" name="Footer Placeholder 3"/>
          <p:cNvSpPr>
            <a:spLocks noGrp="1"/>
          </p:cNvSpPr>
          <p:nvPr>
            <p:ph type="ftr" sz="quarter" idx="13"/>
          </p:nvPr>
        </p:nvSpPr>
        <p:spPr/>
        <p:txBody>
          <a:bodyPr/>
          <a:lstStyle/>
          <a:p>
            <a:endParaRPr lang="en-GB" dirty="0"/>
          </a:p>
        </p:txBody>
      </p:sp>
      <p:sp>
        <p:nvSpPr>
          <p:cNvPr id="12" name="Text Placeholder 8">
            <a:extLst>
              <a:ext uri="{FF2B5EF4-FFF2-40B4-BE49-F238E27FC236}">
                <a16:creationId xmlns:a16="http://schemas.microsoft.com/office/drawing/2014/main" id="{B24A7ADA-849C-17AB-9B33-51D812A28995}"/>
              </a:ext>
            </a:extLst>
          </p:cNvPr>
          <p:cNvSpPr>
            <a:spLocks noGrp="1"/>
          </p:cNvSpPr>
          <p:nvPr>
            <p:ph type="body" sz="quarter" idx="16"/>
          </p:nvPr>
        </p:nvSpPr>
        <p:spPr>
          <a:xfrm>
            <a:off x="8502650" y="1332000"/>
            <a:ext cx="3052763" cy="4427999"/>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4" name="Text Placeholder 13">
            <a:extLst>
              <a:ext uri="{FF2B5EF4-FFF2-40B4-BE49-F238E27FC236}">
                <a16:creationId xmlns:a16="http://schemas.microsoft.com/office/drawing/2014/main" id="{59700100-9CEE-97C9-FAD1-B0EFCC9E315E}"/>
              </a:ext>
            </a:extLst>
          </p:cNvPr>
          <p:cNvSpPr>
            <a:spLocks noGrp="1"/>
          </p:cNvSpPr>
          <p:nvPr>
            <p:ph type="body" sz="quarter" idx="17" hasCustomPrompt="1"/>
          </p:nvPr>
        </p:nvSpPr>
        <p:spPr>
          <a:xfrm>
            <a:off x="8502613" y="360084"/>
            <a:ext cx="3052800" cy="720000"/>
          </a:xfrm>
        </p:spPr>
        <p:txBody>
          <a:bodyPr anchor="b" anchorCtr="0"/>
          <a:lstStyle>
            <a:lvl1pPr marL="0" indent="0">
              <a:buNone/>
              <a:defRPr b="1">
                <a:latin typeface="+mj-lt"/>
              </a:defRPr>
            </a:lvl1pPr>
            <a:lvl2pPr marL="257191" indent="0">
              <a:buNone/>
              <a:defRPr b="1">
                <a:latin typeface="+mj-lt"/>
              </a:defRPr>
            </a:lvl2pPr>
            <a:lvl3pPr marL="514382" indent="0">
              <a:buNone/>
              <a:defRPr b="1">
                <a:latin typeface="+mj-lt"/>
              </a:defRPr>
            </a:lvl3pPr>
            <a:lvl4pPr marL="771574" indent="0">
              <a:buNone/>
              <a:defRPr b="1">
                <a:latin typeface="+mj-lt"/>
              </a:defRPr>
            </a:lvl4pPr>
            <a:lvl5pPr marL="1028765" indent="0">
              <a:buNone/>
              <a:defRPr b="1">
                <a:latin typeface="+mj-lt"/>
              </a:defRPr>
            </a:lvl5pPr>
          </a:lstStyle>
          <a:p>
            <a:pPr lvl="0"/>
            <a:r>
              <a:rPr lang="en-GB"/>
              <a:t>Click to add title</a:t>
            </a:r>
            <a:endParaRPr lang="en-GB" dirty="0"/>
          </a:p>
        </p:txBody>
      </p:sp>
      <p:sp>
        <p:nvSpPr>
          <p:cNvPr id="16" name="Logotype, static">
            <a:extLst>
              <a:ext uri="{FF2B5EF4-FFF2-40B4-BE49-F238E27FC236}">
                <a16:creationId xmlns:a16="http://schemas.microsoft.com/office/drawing/2014/main" id="{657B27D4-ED75-46A9-0AD9-FAE61A5E0E87}"/>
              </a:ext>
            </a:extLst>
          </p:cNvPr>
          <p:cNvSpPr>
            <a:spLocks noChangeAspect="1"/>
          </p:cNvSpPr>
          <p:nvPr userDrawn="1"/>
        </p:nvSpPr>
        <p:spPr>
          <a:xfrm>
            <a:off x="10689559" y="6389370"/>
            <a:ext cx="864000" cy="180067"/>
          </a:xfrm>
          <a:custGeom>
            <a:avLst/>
            <a:gdLst>
              <a:gd name="connsiteX0" fmla="*/ 1189292 w 1295686"/>
              <a:gd name="connsiteY0" fmla="*/ 102299 h 270035"/>
              <a:gd name="connsiteX1" fmla="*/ 1128522 w 1295686"/>
              <a:gd name="connsiteY1" fmla="*/ 170593 h 270035"/>
              <a:gd name="connsiteX2" fmla="*/ 1181576 w 1295686"/>
              <a:gd name="connsiteY2" fmla="*/ 224219 h 270035"/>
              <a:gd name="connsiteX3" fmla="*/ 1250537 w 1295686"/>
              <a:gd name="connsiteY3" fmla="*/ 166688 h 270035"/>
              <a:gd name="connsiteX4" fmla="*/ 1250442 w 1295686"/>
              <a:gd name="connsiteY4" fmla="*/ 166688 h 270035"/>
              <a:gd name="connsiteX5" fmla="*/ 1250442 w 1295686"/>
              <a:gd name="connsiteY5" fmla="*/ 160306 h 270035"/>
              <a:gd name="connsiteX6" fmla="*/ 1189292 w 1295686"/>
              <a:gd name="connsiteY6" fmla="*/ 102299 h 270035"/>
              <a:gd name="connsiteX7" fmla="*/ 717519 w 1295686"/>
              <a:gd name="connsiteY7" fmla="*/ 102299 h 270035"/>
              <a:gd name="connsiteX8" fmla="*/ 656749 w 1295686"/>
              <a:gd name="connsiteY8" fmla="*/ 170593 h 270035"/>
              <a:gd name="connsiteX9" fmla="*/ 709803 w 1295686"/>
              <a:gd name="connsiteY9" fmla="*/ 224218 h 270035"/>
              <a:gd name="connsiteX10" fmla="*/ 778764 w 1295686"/>
              <a:gd name="connsiteY10" fmla="*/ 166687 h 270035"/>
              <a:gd name="connsiteX11" fmla="*/ 778669 w 1295686"/>
              <a:gd name="connsiteY11" fmla="*/ 166687 h 270035"/>
              <a:gd name="connsiteX12" fmla="*/ 778669 w 1295686"/>
              <a:gd name="connsiteY12" fmla="*/ 160306 h 270035"/>
              <a:gd name="connsiteX13" fmla="*/ 717519 w 1295686"/>
              <a:gd name="connsiteY13" fmla="*/ 102299 h 270035"/>
              <a:gd name="connsiteX14" fmla="*/ 366808 w 1295686"/>
              <a:gd name="connsiteY14" fmla="*/ 102299 h 270035"/>
              <a:gd name="connsiteX15" fmla="*/ 305657 w 1295686"/>
              <a:gd name="connsiteY15" fmla="*/ 163449 h 270035"/>
              <a:gd name="connsiteX16" fmla="*/ 366808 w 1295686"/>
              <a:gd name="connsiteY16" fmla="*/ 224600 h 270035"/>
              <a:gd name="connsiteX17" fmla="*/ 427958 w 1295686"/>
              <a:gd name="connsiteY17" fmla="*/ 163449 h 270035"/>
              <a:gd name="connsiteX18" fmla="*/ 366808 w 1295686"/>
              <a:gd name="connsiteY18" fmla="*/ 102299 h 270035"/>
              <a:gd name="connsiteX19" fmla="*/ 962039 w 1295686"/>
              <a:gd name="connsiteY19" fmla="*/ 96385 h 270035"/>
              <a:gd name="connsiteX20" fmla="*/ 938499 w 1295686"/>
              <a:gd name="connsiteY20" fmla="*/ 100585 h 270035"/>
              <a:gd name="connsiteX21" fmla="*/ 896779 w 1295686"/>
              <a:gd name="connsiteY21" fmla="*/ 159068 h 270035"/>
              <a:gd name="connsiteX22" fmla="*/ 896779 w 1295686"/>
              <a:gd name="connsiteY22" fmla="*/ 159164 h 270035"/>
              <a:gd name="connsiteX23" fmla="*/ 1011746 w 1295686"/>
              <a:gd name="connsiteY23" fmla="*/ 127541 h 270035"/>
              <a:gd name="connsiteX24" fmla="*/ 962039 w 1295686"/>
              <a:gd name="connsiteY24" fmla="*/ 96385 h 270035"/>
              <a:gd name="connsiteX25" fmla="*/ 1181005 w 1295686"/>
              <a:gd name="connsiteY25" fmla="*/ 57436 h 270035"/>
              <a:gd name="connsiteX26" fmla="*/ 1295686 w 1295686"/>
              <a:gd name="connsiteY26" fmla="*/ 165354 h 270035"/>
              <a:gd name="connsiteX27" fmla="*/ 1295686 w 1295686"/>
              <a:gd name="connsiteY27" fmla="*/ 266700 h 270035"/>
              <a:gd name="connsiteX28" fmla="*/ 1254538 w 1295686"/>
              <a:gd name="connsiteY28" fmla="*/ 266700 h 270035"/>
              <a:gd name="connsiteX29" fmla="*/ 1254538 w 1295686"/>
              <a:gd name="connsiteY29" fmla="*/ 235458 h 270035"/>
              <a:gd name="connsiteX30" fmla="*/ 1189292 w 1295686"/>
              <a:gd name="connsiteY30" fmla="*/ 269558 h 270035"/>
              <a:gd name="connsiteX31" fmla="*/ 1083278 w 1295686"/>
              <a:gd name="connsiteY31" fmla="*/ 156591 h 270035"/>
              <a:gd name="connsiteX32" fmla="*/ 1181005 w 1295686"/>
              <a:gd name="connsiteY32" fmla="*/ 57531 h 270035"/>
              <a:gd name="connsiteX33" fmla="*/ 956311 w 1295686"/>
              <a:gd name="connsiteY33" fmla="*/ 57246 h 270035"/>
              <a:gd name="connsiteX34" fmla="*/ 956311 w 1295686"/>
              <a:gd name="connsiteY34" fmla="*/ 57341 h 270035"/>
              <a:gd name="connsiteX35" fmla="*/ 1064134 w 1295686"/>
              <a:gd name="connsiteY35" fmla="*/ 151924 h 270035"/>
              <a:gd name="connsiteX36" fmla="*/ 904876 w 1295686"/>
              <a:gd name="connsiteY36" fmla="*/ 195359 h 270035"/>
              <a:gd name="connsiteX37" fmla="*/ 970503 w 1295686"/>
              <a:gd name="connsiteY37" fmla="*/ 227172 h 270035"/>
              <a:gd name="connsiteX38" fmla="*/ 1016413 w 1295686"/>
              <a:gd name="connsiteY38" fmla="*/ 191930 h 270035"/>
              <a:gd name="connsiteX39" fmla="*/ 1057371 w 1295686"/>
              <a:gd name="connsiteY39" fmla="*/ 204121 h 270035"/>
              <a:gd name="connsiteX40" fmla="*/ 958787 w 1295686"/>
              <a:gd name="connsiteY40" fmla="*/ 270035 h 270035"/>
              <a:gd name="connsiteX41" fmla="*/ 852488 w 1295686"/>
              <a:gd name="connsiteY41" fmla="*/ 164593 h 270035"/>
              <a:gd name="connsiteX42" fmla="*/ 956311 w 1295686"/>
              <a:gd name="connsiteY42" fmla="*/ 57246 h 270035"/>
              <a:gd name="connsiteX43" fmla="*/ 366903 w 1295686"/>
              <a:gd name="connsiteY43" fmla="*/ 57055 h 270035"/>
              <a:gd name="connsiteX44" fmla="*/ 473298 w 1295686"/>
              <a:gd name="connsiteY44" fmla="*/ 163449 h 270035"/>
              <a:gd name="connsiteX45" fmla="*/ 366903 w 1295686"/>
              <a:gd name="connsiteY45" fmla="*/ 269844 h 270035"/>
              <a:gd name="connsiteX46" fmla="*/ 260509 w 1295686"/>
              <a:gd name="connsiteY46" fmla="*/ 163449 h 270035"/>
              <a:gd name="connsiteX47" fmla="*/ 366903 w 1295686"/>
              <a:gd name="connsiteY47" fmla="*/ 57055 h 270035"/>
              <a:gd name="connsiteX48" fmla="*/ 605885 w 1295686"/>
              <a:gd name="connsiteY48" fmla="*/ 56769 h 270035"/>
              <a:gd name="connsiteX49" fmla="*/ 605885 w 1295686"/>
              <a:gd name="connsiteY49" fmla="*/ 100393 h 270035"/>
              <a:gd name="connsiteX50" fmla="*/ 605981 w 1295686"/>
              <a:gd name="connsiteY50" fmla="*/ 100393 h 270035"/>
              <a:gd name="connsiteX51" fmla="*/ 547307 w 1295686"/>
              <a:gd name="connsiteY51" fmla="*/ 167164 h 270035"/>
              <a:gd name="connsiteX52" fmla="*/ 547402 w 1295686"/>
              <a:gd name="connsiteY52" fmla="*/ 266795 h 270035"/>
              <a:gd name="connsiteX53" fmla="*/ 500920 w 1295686"/>
              <a:gd name="connsiteY53" fmla="*/ 266795 h 270035"/>
              <a:gd name="connsiteX54" fmla="*/ 500920 w 1295686"/>
              <a:gd name="connsiteY54" fmla="*/ 63722 h 270035"/>
              <a:gd name="connsiteX55" fmla="*/ 546164 w 1295686"/>
              <a:gd name="connsiteY55" fmla="*/ 63722 h 270035"/>
              <a:gd name="connsiteX56" fmla="*/ 546164 w 1295686"/>
              <a:gd name="connsiteY56" fmla="*/ 87154 h 270035"/>
              <a:gd name="connsiteX57" fmla="*/ 605885 w 1295686"/>
              <a:gd name="connsiteY57" fmla="*/ 56769 h 270035"/>
              <a:gd name="connsiteX58" fmla="*/ 0 w 1295686"/>
              <a:gd name="connsiteY58" fmla="*/ 21622 h 270035"/>
              <a:gd name="connsiteX59" fmla="*/ 47339 w 1295686"/>
              <a:gd name="connsiteY59" fmla="*/ 21622 h 270035"/>
              <a:gd name="connsiteX60" fmla="*/ 186214 w 1295686"/>
              <a:gd name="connsiteY60" fmla="*/ 185166 h 270035"/>
              <a:gd name="connsiteX61" fmla="*/ 186214 w 1295686"/>
              <a:gd name="connsiteY61" fmla="*/ 21622 h 270035"/>
              <a:gd name="connsiteX62" fmla="*/ 233077 w 1295686"/>
              <a:gd name="connsiteY62" fmla="*/ 21622 h 270035"/>
              <a:gd name="connsiteX63" fmla="*/ 232982 w 1295686"/>
              <a:gd name="connsiteY63" fmla="*/ 266700 h 270035"/>
              <a:gd name="connsiteX64" fmla="*/ 189548 w 1295686"/>
              <a:gd name="connsiteY64" fmla="*/ 266700 h 270035"/>
              <a:gd name="connsiteX65" fmla="*/ 48959 w 1295686"/>
              <a:gd name="connsiteY65" fmla="*/ 102680 h 270035"/>
              <a:gd name="connsiteX66" fmla="*/ 48959 w 1295686"/>
              <a:gd name="connsiteY66" fmla="*/ 266414 h 270035"/>
              <a:gd name="connsiteX67" fmla="*/ 0 w 1295686"/>
              <a:gd name="connsiteY67" fmla="*/ 266414 h 270035"/>
              <a:gd name="connsiteX68" fmla="*/ 780098 w 1295686"/>
              <a:gd name="connsiteY68" fmla="*/ 0 h 270035"/>
              <a:gd name="connsiteX69" fmla="*/ 823722 w 1295686"/>
              <a:gd name="connsiteY69" fmla="*/ 0 h 270035"/>
              <a:gd name="connsiteX70" fmla="*/ 823722 w 1295686"/>
              <a:gd name="connsiteY70" fmla="*/ 161449 h 270035"/>
              <a:gd name="connsiteX71" fmla="*/ 823722 w 1295686"/>
              <a:gd name="connsiteY71" fmla="*/ 163449 h 270035"/>
              <a:gd name="connsiteX72" fmla="*/ 823722 w 1295686"/>
              <a:gd name="connsiteY72" fmla="*/ 165449 h 270035"/>
              <a:gd name="connsiteX73" fmla="*/ 823722 w 1295686"/>
              <a:gd name="connsiteY73" fmla="*/ 266795 h 270035"/>
              <a:gd name="connsiteX74" fmla="*/ 782765 w 1295686"/>
              <a:gd name="connsiteY74" fmla="*/ 266795 h 270035"/>
              <a:gd name="connsiteX75" fmla="*/ 782765 w 1295686"/>
              <a:gd name="connsiteY75" fmla="*/ 239649 h 270035"/>
              <a:gd name="connsiteX76" fmla="*/ 717519 w 1295686"/>
              <a:gd name="connsiteY76" fmla="*/ 269748 h 270035"/>
              <a:gd name="connsiteX77" fmla="*/ 611505 w 1295686"/>
              <a:gd name="connsiteY77" fmla="*/ 156591 h 270035"/>
              <a:gd name="connsiteX78" fmla="*/ 709232 w 1295686"/>
              <a:gd name="connsiteY78" fmla="*/ 57531 h 270035"/>
              <a:gd name="connsiteX79" fmla="*/ 780098 w 1295686"/>
              <a:gd name="connsiteY79" fmla="*/ 79819 h 27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95686" h="270035">
                <a:moveTo>
                  <a:pt x="1189292" y="102299"/>
                </a:moveTo>
                <a:cubicBezTo>
                  <a:pt x="1153192" y="102299"/>
                  <a:pt x="1124426" y="133636"/>
                  <a:pt x="1128522" y="170593"/>
                </a:cubicBezTo>
                <a:cubicBezTo>
                  <a:pt x="1131665" y="198215"/>
                  <a:pt x="1153859" y="220790"/>
                  <a:pt x="1181576" y="224219"/>
                </a:cubicBezTo>
                <a:cubicBezTo>
                  <a:pt x="1217771" y="228695"/>
                  <a:pt x="1248728" y="201549"/>
                  <a:pt x="1250537" y="166688"/>
                </a:cubicBezTo>
                <a:lnTo>
                  <a:pt x="1250442" y="166688"/>
                </a:lnTo>
                <a:lnTo>
                  <a:pt x="1250442" y="160306"/>
                </a:lnTo>
                <a:cubicBezTo>
                  <a:pt x="1248728" y="128016"/>
                  <a:pt x="1222058" y="102299"/>
                  <a:pt x="1189292" y="102299"/>
                </a:cubicBezTo>
                <a:close/>
                <a:moveTo>
                  <a:pt x="717519" y="102299"/>
                </a:moveTo>
                <a:cubicBezTo>
                  <a:pt x="681419" y="102299"/>
                  <a:pt x="652653" y="133636"/>
                  <a:pt x="656749" y="170593"/>
                </a:cubicBezTo>
                <a:cubicBezTo>
                  <a:pt x="659892" y="198215"/>
                  <a:pt x="682086" y="220789"/>
                  <a:pt x="709803" y="224218"/>
                </a:cubicBezTo>
                <a:cubicBezTo>
                  <a:pt x="745998" y="228695"/>
                  <a:pt x="776955" y="201549"/>
                  <a:pt x="778764" y="166687"/>
                </a:cubicBezTo>
                <a:lnTo>
                  <a:pt x="778669" y="166687"/>
                </a:lnTo>
                <a:lnTo>
                  <a:pt x="778669" y="160306"/>
                </a:lnTo>
                <a:cubicBezTo>
                  <a:pt x="776955" y="128016"/>
                  <a:pt x="750285" y="102299"/>
                  <a:pt x="717519" y="102299"/>
                </a:cubicBezTo>
                <a:close/>
                <a:moveTo>
                  <a:pt x="366808" y="102299"/>
                </a:moveTo>
                <a:cubicBezTo>
                  <a:pt x="333089" y="102299"/>
                  <a:pt x="305657" y="129731"/>
                  <a:pt x="305657" y="163449"/>
                </a:cubicBezTo>
                <a:cubicBezTo>
                  <a:pt x="305657" y="197168"/>
                  <a:pt x="332994" y="224600"/>
                  <a:pt x="366808" y="224600"/>
                </a:cubicBezTo>
                <a:cubicBezTo>
                  <a:pt x="400527" y="224600"/>
                  <a:pt x="427958" y="197168"/>
                  <a:pt x="427958" y="163449"/>
                </a:cubicBezTo>
                <a:cubicBezTo>
                  <a:pt x="427958" y="129731"/>
                  <a:pt x="400527" y="102299"/>
                  <a:pt x="366808" y="102299"/>
                </a:cubicBezTo>
                <a:close/>
                <a:moveTo>
                  <a:pt x="962039" y="96385"/>
                </a:moveTo>
                <a:cubicBezTo>
                  <a:pt x="954578" y="96227"/>
                  <a:pt x="946666" y="97513"/>
                  <a:pt x="938499" y="100585"/>
                </a:cubicBezTo>
                <a:cubicBezTo>
                  <a:pt x="909733" y="111348"/>
                  <a:pt x="896779" y="136875"/>
                  <a:pt x="896779" y="159068"/>
                </a:cubicBezTo>
                <a:lnTo>
                  <a:pt x="896779" y="159164"/>
                </a:lnTo>
                <a:lnTo>
                  <a:pt x="1011746" y="127541"/>
                </a:lnTo>
                <a:cubicBezTo>
                  <a:pt x="1002744" y="110324"/>
                  <a:pt x="984421" y="96858"/>
                  <a:pt x="962039" y="96385"/>
                </a:cubicBezTo>
                <a:close/>
                <a:moveTo>
                  <a:pt x="1181005" y="57436"/>
                </a:moveTo>
                <a:cubicBezTo>
                  <a:pt x="1242060" y="52673"/>
                  <a:pt x="1295686" y="99346"/>
                  <a:pt x="1295686" y="165354"/>
                </a:cubicBezTo>
                <a:lnTo>
                  <a:pt x="1295686" y="266700"/>
                </a:lnTo>
                <a:lnTo>
                  <a:pt x="1254538" y="266700"/>
                </a:lnTo>
                <a:lnTo>
                  <a:pt x="1254538" y="235458"/>
                </a:lnTo>
                <a:cubicBezTo>
                  <a:pt x="1241108" y="258604"/>
                  <a:pt x="1211295" y="269558"/>
                  <a:pt x="1189292" y="269558"/>
                </a:cubicBezTo>
                <a:cubicBezTo>
                  <a:pt x="1128332" y="269558"/>
                  <a:pt x="1079373" y="218408"/>
                  <a:pt x="1083278" y="156591"/>
                </a:cubicBezTo>
                <a:cubicBezTo>
                  <a:pt x="1086612" y="104299"/>
                  <a:pt x="1128236" y="61627"/>
                  <a:pt x="1181005" y="57531"/>
                </a:cubicBezTo>
                <a:close/>
                <a:moveTo>
                  <a:pt x="956311" y="57246"/>
                </a:moveTo>
                <a:lnTo>
                  <a:pt x="956311" y="57341"/>
                </a:lnTo>
                <a:cubicBezTo>
                  <a:pt x="1023557" y="55436"/>
                  <a:pt x="1059466" y="111062"/>
                  <a:pt x="1064134" y="151924"/>
                </a:cubicBezTo>
                <a:lnTo>
                  <a:pt x="904876" y="195359"/>
                </a:lnTo>
                <a:cubicBezTo>
                  <a:pt x="915258" y="214980"/>
                  <a:pt x="941737" y="232506"/>
                  <a:pt x="970503" y="227172"/>
                </a:cubicBezTo>
                <a:cubicBezTo>
                  <a:pt x="991077" y="223267"/>
                  <a:pt x="1008984" y="208693"/>
                  <a:pt x="1016413" y="191930"/>
                </a:cubicBezTo>
                <a:lnTo>
                  <a:pt x="1057371" y="204121"/>
                </a:lnTo>
                <a:cubicBezTo>
                  <a:pt x="1041274" y="244889"/>
                  <a:pt x="1000507" y="270035"/>
                  <a:pt x="958787" y="270035"/>
                </a:cubicBezTo>
                <a:cubicBezTo>
                  <a:pt x="898970" y="270035"/>
                  <a:pt x="852488" y="222029"/>
                  <a:pt x="852488" y="164593"/>
                </a:cubicBezTo>
                <a:cubicBezTo>
                  <a:pt x="852488" y="102299"/>
                  <a:pt x="900494" y="58770"/>
                  <a:pt x="956311" y="57246"/>
                </a:cubicBezTo>
                <a:close/>
                <a:moveTo>
                  <a:pt x="366903" y="57055"/>
                </a:moveTo>
                <a:cubicBezTo>
                  <a:pt x="425673" y="57055"/>
                  <a:pt x="473298" y="104680"/>
                  <a:pt x="473298" y="163449"/>
                </a:cubicBezTo>
                <a:cubicBezTo>
                  <a:pt x="473298" y="222219"/>
                  <a:pt x="425673" y="269844"/>
                  <a:pt x="366903" y="269844"/>
                </a:cubicBezTo>
                <a:cubicBezTo>
                  <a:pt x="308134" y="269844"/>
                  <a:pt x="260509" y="222219"/>
                  <a:pt x="260509" y="163449"/>
                </a:cubicBezTo>
                <a:cubicBezTo>
                  <a:pt x="260509" y="104680"/>
                  <a:pt x="308134" y="57055"/>
                  <a:pt x="366903" y="57055"/>
                </a:cubicBezTo>
                <a:close/>
                <a:moveTo>
                  <a:pt x="605885" y="56769"/>
                </a:moveTo>
                <a:lnTo>
                  <a:pt x="605885" y="100393"/>
                </a:lnTo>
                <a:lnTo>
                  <a:pt x="605981" y="100393"/>
                </a:lnTo>
                <a:cubicBezTo>
                  <a:pt x="574453" y="102013"/>
                  <a:pt x="547307" y="120301"/>
                  <a:pt x="547307" y="167164"/>
                </a:cubicBezTo>
                <a:cubicBezTo>
                  <a:pt x="547307" y="205073"/>
                  <a:pt x="547402" y="204025"/>
                  <a:pt x="547402" y="266795"/>
                </a:cubicBezTo>
                <a:lnTo>
                  <a:pt x="500920" y="266795"/>
                </a:lnTo>
                <a:lnTo>
                  <a:pt x="500920" y="63722"/>
                </a:lnTo>
                <a:lnTo>
                  <a:pt x="546164" y="63722"/>
                </a:lnTo>
                <a:lnTo>
                  <a:pt x="546164" y="87154"/>
                </a:lnTo>
                <a:cubicBezTo>
                  <a:pt x="552069" y="76295"/>
                  <a:pt x="566166" y="56769"/>
                  <a:pt x="605885" y="56769"/>
                </a:cubicBezTo>
                <a:close/>
                <a:moveTo>
                  <a:pt x="0" y="21622"/>
                </a:moveTo>
                <a:lnTo>
                  <a:pt x="47339" y="21622"/>
                </a:lnTo>
                <a:lnTo>
                  <a:pt x="186214" y="185166"/>
                </a:lnTo>
                <a:lnTo>
                  <a:pt x="186214" y="21622"/>
                </a:lnTo>
                <a:lnTo>
                  <a:pt x="233077" y="21622"/>
                </a:lnTo>
                <a:lnTo>
                  <a:pt x="232982" y="266700"/>
                </a:lnTo>
                <a:lnTo>
                  <a:pt x="189548" y="266700"/>
                </a:lnTo>
                <a:lnTo>
                  <a:pt x="48959" y="102680"/>
                </a:lnTo>
                <a:lnTo>
                  <a:pt x="48959" y="266414"/>
                </a:lnTo>
                <a:lnTo>
                  <a:pt x="0" y="266414"/>
                </a:lnTo>
                <a:close/>
                <a:moveTo>
                  <a:pt x="780098" y="0"/>
                </a:moveTo>
                <a:lnTo>
                  <a:pt x="823722" y="0"/>
                </a:lnTo>
                <a:lnTo>
                  <a:pt x="823722" y="161449"/>
                </a:lnTo>
                <a:cubicBezTo>
                  <a:pt x="823722" y="162115"/>
                  <a:pt x="823722" y="162782"/>
                  <a:pt x="823722" y="163449"/>
                </a:cubicBezTo>
                <a:cubicBezTo>
                  <a:pt x="823722" y="164116"/>
                  <a:pt x="823722" y="164783"/>
                  <a:pt x="823722" y="165449"/>
                </a:cubicBezTo>
                <a:lnTo>
                  <a:pt x="823722" y="266795"/>
                </a:lnTo>
                <a:cubicBezTo>
                  <a:pt x="823722" y="266795"/>
                  <a:pt x="782765" y="266795"/>
                  <a:pt x="782765" y="266795"/>
                </a:cubicBezTo>
                <a:lnTo>
                  <a:pt x="782765" y="239649"/>
                </a:lnTo>
                <a:cubicBezTo>
                  <a:pt x="771906" y="258889"/>
                  <a:pt x="740283" y="269748"/>
                  <a:pt x="717519" y="269748"/>
                </a:cubicBezTo>
                <a:cubicBezTo>
                  <a:pt x="656559" y="269748"/>
                  <a:pt x="607600" y="218408"/>
                  <a:pt x="611505" y="156591"/>
                </a:cubicBezTo>
                <a:cubicBezTo>
                  <a:pt x="614839" y="104299"/>
                  <a:pt x="656940" y="61722"/>
                  <a:pt x="709232" y="57531"/>
                </a:cubicBezTo>
                <a:cubicBezTo>
                  <a:pt x="737235" y="55245"/>
                  <a:pt x="769716" y="66104"/>
                  <a:pt x="780098" y="79819"/>
                </a:cubicBezTo>
                <a:close/>
              </a:path>
            </a:pathLst>
          </a:custGeom>
          <a:solidFill>
            <a:srgbClr val="0000A0"/>
          </a:soli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2044101218"/>
      </p:ext>
    </p:extLst>
  </p:cSld>
  <p:clrMapOvr>
    <a:masterClrMapping/>
  </p:clrMapOvr>
  <p:hf hdr="0" ft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endParaRPr lang="en-GB" dirty="0"/>
          </a:p>
        </p:txBody>
      </p:sp>
      <p:sp>
        <p:nvSpPr>
          <p:cNvPr id="3" name="Content Placeholder 2"/>
          <p:cNvSpPr>
            <a:spLocks noGrp="1"/>
          </p:cNvSpPr>
          <p:nvPr>
            <p:ph sz="half" idx="1"/>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p:nvPr>
        </p:nvSpPr>
        <p:spPr>
          <a:xfrm>
            <a:off x="6192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5" name="Footer Placeholder 4"/>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246644096"/>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endParaRPr lang="en-GB" dirty="0"/>
          </a:p>
        </p:txBody>
      </p:sp>
      <p:sp>
        <p:nvSpPr>
          <p:cNvPr id="3" name="Content Placeholder 2"/>
          <p:cNvSpPr>
            <a:spLocks noGrp="1"/>
          </p:cNvSpPr>
          <p:nvPr>
            <p:ph sz="half" idx="1"/>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6" name="Content Placeholder 3"/>
          <p:cNvSpPr>
            <a:spLocks noGrp="1"/>
          </p:cNvSpPr>
          <p:nvPr>
            <p:ph sz="half" idx="13"/>
          </p:nvPr>
        </p:nvSpPr>
        <p:spPr>
          <a:xfrm>
            <a:off x="8067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64888197"/>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endParaRPr lang="en-GB" dirty="0"/>
          </a:p>
        </p:txBody>
      </p:sp>
      <p:sp>
        <p:nvSpPr>
          <p:cNvPr id="5" name="Slide Number Placeholder 4"/>
          <p:cNvSpPr>
            <a:spLocks noGrp="1"/>
          </p:cNvSpPr>
          <p:nvPr>
            <p:ph type="sldNum" sz="quarter" idx="12"/>
          </p:nvPr>
        </p:nvSpPr>
        <p:spPr/>
        <p:txBody>
          <a:bodyPr/>
          <a:lstStyle/>
          <a:p>
            <a:fld id="{D14BCCD3-0010-4FBA-B965-2126ADC31932}" type="slidenum">
              <a:rPr lang="en-GB" smtClean="0"/>
              <a:t>‹#›</a:t>
            </a:fld>
            <a:endParaRPr lang="en-GB" dirty="0"/>
          </a:p>
        </p:txBody>
      </p:sp>
      <p:sp>
        <p:nvSpPr>
          <p:cNvPr id="3" name="Footer Placeholder 2"/>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1378173229"/>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14BCCD3-0010-4FBA-B965-2126ADC31932}" type="slidenum">
              <a:rPr lang="en-GB" smtClean="0"/>
              <a:t>‹#›</a:t>
            </a:fld>
            <a:endParaRPr lang="en-GB" dirty="0"/>
          </a:p>
        </p:txBody>
      </p:sp>
      <p:sp>
        <p:nvSpPr>
          <p:cNvPr id="2" name="Footer Placeholder 1"/>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1521664259"/>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mage and Text Box">
    <p:bg>
      <p:bgPr>
        <a:solidFill>
          <a:schemeClr val="accent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1" y="-1"/>
            <a:ext cx="8182879" cy="6859587"/>
          </a:xfrm>
          <a:solidFill>
            <a:schemeClr val="bg1">
              <a:lumMod val="95000"/>
            </a:schemeClr>
          </a:solidFill>
        </p:spPr>
        <p:txBody>
          <a:bodyPr anchor="ctr" anchorCtr="0"/>
          <a:lstStyle>
            <a:lvl1pPr marL="0" indent="0" algn="ctr">
              <a:buFontTx/>
              <a:buNone/>
              <a:defRPr/>
            </a:lvl1pPr>
          </a:lstStyle>
          <a:p>
            <a:r>
              <a:rPr lang="en-GB"/>
              <a:t>Insert image by clicking on placeholder + Images button</a:t>
            </a:r>
            <a:endParaRPr lang="en-GB" dirty="0"/>
          </a:p>
        </p:txBody>
      </p:sp>
      <p:sp>
        <p:nvSpPr>
          <p:cNvPr id="2" name="Title 1"/>
          <p:cNvSpPr>
            <a:spLocks noGrp="1"/>
          </p:cNvSpPr>
          <p:nvPr>
            <p:ph type="title" hasCustomPrompt="1"/>
          </p:nvPr>
        </p:nvSpPr>
        <p:spPr>
          <a:xfrm>
            <a:off x="8503252" y="360000"/>
            <a:ext cx="3052747" cy="720000"/>
          </a:xfrm>
        </p:spPr>
        <p:txBody>
          <a:bodyPr/>
          <a:lstStyle>
            <a:lvl1pPr>
              <a:defRPr>
                <a:solidFill>
                  <a:schemeClr val="accent4"/>
                </a:solidFill>
              </a:defRPr>
            </a:lvl1pPr>
          </a:lstStyle>
          <a:p>
            <a:r>
              <a:rPr lang="en-GB"/>
              <a:t>Click to add title</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6" name="Footer Placeholder 5"/>
          <p:cNvSpPr>
            <a:spLocks noGrp="1"/>
          </p:cNvSpPr>
          <p:nvPr>
            <p:ph type="ftr" sz="quarter" idx="15"/>
          </p:nvPr>
        </p:nvSpPr>
        <p:spPr/>
        <p:txBody>
          <a:bodyPr/>
          <a:lstStyle/>
          <a:p>
            <a:endParaRPr lang="en-GB" dirty="0"/>
          </a:p>
        </p:txBody>
      </p:sp>
      <p:sp>
        <p:nvSpPr>
          <p:cNvPr id="9" name="Text Placeholder 8">
            <a:extLst>
              <a:ext uri="{FF2B5EF4-FFF2-40B4-BE49-F238E27FC236}">
                <a16:creationId xmlns:a16="http://schemas.microsoft.com/office/drawing/2014/main" id="{69B1799A-498A-8A7B-92F2-75CA3D939A1D}"/>
              </a:ext>
            </a:extLst>
          </p:cNvPr>
          <p:cNvSpPr>
            <a:spLocks noGrp="1"/>
          </p:cNvSpPr>
          <p:nvPr>
            <p:ph type="body" sz="quarter" idx="16"/>
          </p:nvPr>
        </p:nvSpPr>
        <p:spPr>
          <a:xfrm>
            <a:off x="8502650" y="1332000"/>
            <a:ext cx="3052763" cy="442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Logotype, static">
            <a:extLst>
              <a:ext uri="{FF2B5EF4-FFF2-40B4-BE49-F238E27FC236}">
                <a16:creationId xmlns:a16="http://schemas.microsoft.com/office/drawing/2014/main" id="{C6A38777-D9B2-35D0-58CA-0DC04C032ECA}"/>
              </a:ext>
            </a:extLst>
          </p:cNvPr>
          <p:cNvSpPr>
            <a:spLocks noChangeAspect="1"/>
          </p:cNvSpPr>
          <p:nvPr userDrawn="1"/>
        </p:nvSpPr>
        <p:spPr>
          <a:xfrm>
            <a:off x="10689559" y="6389370"/>
            <a:ext cx="864000" cy="180067"/>
          </a:xfrm>
          <a:custGeom>
            <a:avLst/>
            <a:gdLst>
              <a:gd name="connsiteX0" fmla="*/ 1189292 w 1295686"/>
              <a:gd name="connsiteY0" fmla="*/ 102299 h 270035"/>
              <a:gd name="connsiteX1" fmla="*/ 1128522 w 1295686"/>
              <a:gd name="connsiteY1" fmla="*/ 170593 h 270035"/>
              <a:gd name="connsiteX2" fmla="*/ 1181576 w 1295686"/>
              <a:gd name="connsiteY2" fmla="*/ 224219 h 270035"/>
              <a:gd name="connsiteX3" fmla="*/ 1250537 w 1295686"/>
              <a:gd name="connsiteY3" fmla="*/ 166688 h 270035"/>
              <a:gd name="connsiteX4" fmla="*/ 1250442 w 1295686"/>
              <a:gd name="connsiteY4" fmla="*/ 166688 h 270035"/>
              <a:gd name="connsiteX5" fmla="*/ 1250442 w 1295686"/>
              <a:gd name="connsiteY5" fmla="*/ 160306 h 270035"/>
              <a:gd name="connsiteX6" fmla="*/ 1189292 w 1295686"/>
              <a:gd name="connsiteY6" fmla="*/ 102299 h 270035"/>
              <a:gd name="connsiteX7" fmla="*/ 717519 w 1295686"/>
              <a:gd name="connsiteY7" fmla="*/ 102299 h 270035"/>
              <a:gd name="connsiteX8" fmla="*/ 656749 w 1295686"/>
              <a:gd name="connsiteY8" fmla="*/ 170593 h 270035"/>
              <a:gd name="connsiteX9" fmla="*/ 709803 w 1295686"/>
              <a:gd name="connsiteY9" fmla="*/ 224218 h 270035"/>
              <a:gd name="connsiteX10" fmla="*/ 778764 w 1295686"/>
              <a:gd name="connsiteY10" fmla="*/ 166687 h 270035"/>
              <a:gd name="connsiteX11" fmla="*/ 778669 w 1295686"/>
              <a:gd name="connsiteY11" fmla="*/ 166687 h 270035"/>
              <a:gd name="connsiteX12" fmla="*/ 778669 w 1295686"/>
              <a:gd name="connsiteY12" fmla="*/ 160306 h 270035"/>
              <a:gd name="connsiteX13" fmla="*/ 717519 w 1295686"/>
              <a:gd name="connsiteY13" fmla="*/ 102299 h 270035"/>
              <a:gd name="connsiteX14" fmla="*/ 366808 w 1295686"/>
              <a:gd name="connsiteY14" fmla="*/ 102299 h 270035"/>
              <a:gd name="connsiteX15" fmla="*/ 305657 w 1295686"/>
              <a:gd name="connsiteY15" fmla="*/ 163449 h 270035"/>
              <a:gd name="connsiteX16" fmla="*/ 366808 w 1295686"/>
              <a:gd name="connsiteY16" fmla="*/ 224600 h 270035"/>
              <a:gd name="connsiteX17" fmla="*/ 427958 w 1295686"/>
              <a:gd name="connsiteY17" fmla="*/ 163449 h 270035"/>
              <a:gd name="connsiteX18" fmla="*/ 366808 w 1295686"/>
              <a:gd name="connsiteY18" fmla="*/ 102299 h 270035"/>
              <a:gd name="connsiteX19" fmla="*/ 962039 w 1295686"/>
              <a:gd name="connsiteY19" fmla="*/ 96385 h 270035"/>
              <a:gd name="connsiteX20" fmla="*/ 938499 w 1295686"/>
              <a:gd name="connsiteY20" fmla="*/ 100585 h 270035"/>
              <a:gd name="connsiteX21" fmla="*/ 896779 w 1295686"/>
              <a:gd name="connsiteY21" fmla="*/ 159068 h 270035"/>
              <a:gd name="connsiteX22" fmla="*/ 896779 w 1295686"/>
              <a:gd name="connsiteY22" fmla="*/ 159164 h 270035"/>
              <a:gd name="connsiteX23" fmla="*/ 1011746 w 1295686"/>
              <a:gd name="connsiteY23" fmla="*/ 127541 h 270035"/>
              <a:gd name="connsiteX24" fmla="*/ 962039 w 1295686"/>
              <a:gd name="connsiteY24" fmla="*/ 96385 h 270035"/>
              <a:gd name="connsiteX25" fmla="*/ 1181005 w 1295686"/>
              <a:gd name="connsiteY25" fmla="*/ 57436 h 270035"/>
              <a:gd name="connsiteX26" fmla="*/ 1295686 w 1295686"/>
              <a:gd name="connsiteY26" fmla="*/ 165354 h 270035"/>
              <a:gd name="connsiteX27" fmla="*/ 1295686 w 1295686"/>
              <a:gd name="connsiteY27" fmla="*/ 266700 h 270035"/>
              <a:gd name="connsiteX28" fmla="*/ 1254538 w 1295686"/>
              <a:gd name="connsiteY28" fmla="*/ 266700 h 270035"/>
              <a:gd name="connsiteX29" fmla="*/ 1254538 w 1295686"/>
              <a:gd name="connsiteY29" fmla="*/ 235458 h 270035"/>
              <a:gd name="connsiteX30" fmla="*/ 1189292 w 1295686"/>
              <a:gd name="connsiteY30" fmla="*/ 269558 h 270035"/>
              <a:gd name="connsiteX31" fmla="*/ 1083278 w 1295686"/>
              <a:gd name="connsiteY31" fmla="*/ 156591 h 270035"/>
              <a:gd name="connsiteX32" fmla="*/ 1181005 w 1295686"/>
              <a:gd name="connsiteY32" fmla="*/ 57531 h 270035"/>
              <a:gd name="connsiteX33" fmla="*/ 956311 w 1295686"/>
              <a:gd name="connsiteY33" fmla="*/ 57246 h 270035"/>
              <a:gd name="connsiteX34" fmla="*/ 956311 w 1295686"/>
              <a:gd name="connsiteY34" fmla="*/ 57341 h 270035"/>
              <a:gd name="connsiteX35" fmla="*/ 1064134 w 1295686"/>
              <a:gd name="connsiteY35" fmla="*/ 151924 h 270035"/>
              <a:gd name="connsiteX36" fmla="*/ 904876 w 1295686"/>
              <a:gd name="connsiteY36" fmla="*/ 195359 h 270035"/>
              <a:gd name="connsiteX37" fmla="*/ 970503 w 1295686"/>
              <a:gd name="connsiteY37" fmla="*/ 227172 h 270035"/>
              <a:gd name="connsiteX38" fmla="*/ 1016413 w 1295686"/>
              <a:gd name="connsiteY38" fmla="*/ 191930 h 270035"/>
              <a:gd name="connsiteX39" fmla="*/ 1057371 w 1295686"/>
              <a:gd name="connsiteY39" fmla="*/ 204121 h 270035"/>
              <a:gd name="connsiteX40" fmla="*/ 958787 w 1295686"/>
              <a:gd name="connsiteY40" fmla="*/ 270035 h 270035"/>
              <a:gd name="connsiteX41" fmla="*/ 852488 w 1295686"/>
              <a:gd name="connsiteY41" fmla="*/ 164593 h 270035"/>
              <a:gd name="connsiteX42" fmla="*/ 956311 w 1295686"/>
              <a:gd name="connsiteY42" fmla="*/ 57246 h 270035"/>
              <a:gd name="connsiteX43" fmla="*/ 366903 w 1295686"/>
              <a:gd name="connsiteY43" fmla="*/ 57055 h 270035"/>
              <a:gd name="connsiteX44" fmla="*/ 473298 w 1295686"/>
              <a:gd name="connsiteY44" fmla="*/ 163449 h 270035"/>
              <a:gd name="connsiteX45" fmla="*/ 366903 w 1295686"/>
              <a:gd name="connsiteY45" fmla="*/ 269844 h 270035"/>
              <a:gd name="connsiteX46" fmla="*/ 260509 w 1295686"/>
              <a:gd name="connsiteY46" fmla="*/ 163449 h 270035"/>
              <a:gd name="connsiteX47" fmla="*/ 366903 w 1295686"/>
              <a:gd name="connsiteY47" fmla="*/ 57055 h 270035"/>
              <a:gd name="connsiteX48" fmla="*/ 605885 w 1295686"/>
              <a:gd name="connsiteY48" fmla="*/ 56769 h 270035"/>
              <a:gd name="connsiteX49" fmla="*/ 605885 w 1295686"/>
              <a:gd name="connsiteY49" fmla="*/ 100393 h 270035"/>
              <a:gd name="connsiteX50" fmla="*/ 605981 w 1295686"/>
              <a:gd name="connsiteY50" fmla="*/ 100393 h 270035"/>
              <a:gd name="connsiteX51" fmla="*/ 547307 w 1295686"/>
              <a:gd name="connsiteY51" fmla="*/ 167164 h 270035"/>
              <a:gd name="connsiteX52" fmla="*/ 547402 w 1295686"/>
              <a:gd name="connsiteY52" fmla="*/ 266795 h 270035"/>
              <a:gd name="connsiteX53" fmla="*/ 500920 w 1295686"/>
              <a:gd name="connsiteY53" fmla="*/ 266795 h 270035"/>
              <a:gd name="connsiteX54" fmla="*/ 500920 w 1295686"/>
              <a:gd name="connsiteY54" fmla="*/ 63722 h 270035"/>
              <a:gd name="connsiteX55" fmla="*/ 546164 w 1295686"/>
              <a:gd name="connsiteY55" fmla="*/ 63722 h 270035"/>
              <a:gd name="connsiteX56" fmla="*/ 546164 w 1295686"/>
              <a:gd name="connsiteY56" fmla="*/ 87154 h 270035"/>
              <a:gd name="connsiteX57" fmla="*/ 605885 w 1295686"/>
              <a:gd name="connsiteY57" fmla="*/ 56769 h 270035"/>
              <a:gd name="connsiteX58" fmla="*/ 0 w 1295686"/>
              <a:gd name="connsiteY58" fmla="*/ 21622 h 270035"/>
              <a:gd name="connsiteX59" fmla="*/ 47339 w 1295686"/>
              <a:gd name="connsiteY59" fmla="*/ 21622 h 270035"/>
              <a:gd name="connsiteX60" fmla="*/ 186214 w 1295686"/>
              <a:gd name="connsiteY60" fmla="*/ 185166 h 270035"/>
              <a:gd name="connsiteX61" fmla="*/ 186214 w 1295686"/>
              <a:gd name="connsiteY61" fmla="*/ 21622 h 270035"/>
              <a:gd name="connsiteX62" fmla="*/ 233077 w 1295686"/>
              <a:gd name="connsiteY62" fmla="*/ 21622 h 270035"/>
              <a:gd name="connsiteX63" fmla="*/ 232982 w 1295686"/>
              <a:gd name="connsiteY63" fmla="*/ 266700 h 270035"/>
              <a:gd name="connsiteX64" fmla="*/ 189548 w 1295686"/>
              <a:gd name="connsiteY64" fmla="*/ 266700 h 270035"/>
              <a:gd name="connsiteX65" fmla="*/ 48959 w 1295686"/>
              <a:gd name="connsiteY65" fmla="*/ 102680 h 270035"/>
              <a:gd name="connsiteX66" fmla="*/ 48959 w 1295686"/>
              <a:gd name="connsiteY66" fmla="*/ 266414 h 270035"/>
              <a:gd name="connsiteX67" fmla="*/ 0 w 1295686"/>
              <a:gd name="connsiteY67" fmla="*/ 266414 h 270035"/>
              <a:gd name="connsiteX68" fmla="*/ 780098 w 1295686"/>
              <a:gd name="connsiteY68" fmla="*/ 0 h 270035"/>
              <a:gd name="connsiteX69" fmla="*/ 823722 w 1295686"/>
              <a:gd name="connsiteY69" fmla="*/ 0 h 270035"/>
              <a:gd name="connsiteX70" fmla="*/ 823722 w 1295686"/>
              <a:gd name="connsiteY70" fmla="*/ 161449 h 270035"/>
              <a:gd name="connsiteX71" fmla="*/ 823722 w 1295686"/>
              <a:gd name="connsiteY71" fmla="*/ 163449 h 270035"/>
              <a:gd name="connsiteX72" fmla="*/ 823722 w 1295686"/>
              <a:gd name="connsiteY72" fmla="*/ 165449 h 270035"/>
              <a:gd name="connsiteX73" fmla="*/ 823722 w 1295686"/>
              <a:gd name="connsiteY73" fmla="*/ 266795 h 270035"/>
              <a:gd name="connsiteX74" fmla="*/ 782765 w 1295686"/>
              <a:gd name="connsiteY74" fmla="*/ 266795 h 270035"/>
              <a:gd name="connsiteX75" fmla="*/ 782765 w 1295686"/>
              <a:gd name="connsiteY75" fmla="*/ 239649 h 270035"/>
              <a:gd name="connsiteX76" fmla="*/ 717519 w 1295686"/>
              <a:gd name="connsiteY76" fmla="*/ 269748 h 270035"/>
              <a:gd name="connsiteX77" fmla="*/ 611505 w 1295686"/>
              <a:gd name="connsiteY77" fmla="*/ 156591 h 270035"/>
              <a:gd name="connsiteX78" fmla="*/ 709232 w 1295686"/>
              <a:gd name="connsiteY78" fmla="*/ 57531 h 270035"/>
              <a:gd name="connsiteX79" fmla="*/ 780098 w 1295686"/>
              <a:gd name="connsiteY79" fmla="*/ 79819 h 27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95686" h="270035">
                <a:moveTo>
                  <a:pt x="1189292" y="102299"/>
                </a:moveTo>
                <a:cubicBezTo>
                  <a:pt x="1153192" y="102299"/>
                  <a:pt x="1124426" y="133636"/>
                  <a:pt x="1128522" y="170593"/>
                </a:cubicBezTo>
                <a:cubicBezTo>
                  <a:pt x="1131665" y="198215"/>
                  <a:pt x="1153859" y="220790"/>
                  <a:pt x="1181576" y="224219"/>
                </a:cubicBezTo>
                <a:cubicBezTo>
                  <a:pt x="1217771" y="228695"/>
                  <a:pt x="1248728" y="201549"/>
                  <a:pt x="1250537" y="166688"/>
                </a:cubicBezTo>
                <a:lnTo>
                  <a:pt x="1250442" y="166688"/>
                </a:lnTo>
                <a:lnTo>
                  <a:pt x="1250442" y="160306"/>
                </a:lnTo>
                <a:cubicBezTo>
                  <a:pt x="1248728" y="128016"/>
                  <a:pt x="1222058" y="102299"/>
                  <a:pt x="1189292" y="102299"/>
                </a:cubicBezTo>
                <a:close/>
                <a:moveTo>
                  <a:pt x="717519" y="102299"/>
                </a:moveTo>
                <a:cubicBezTo>
                  <a:pt x="681419" y="102299"/>
                  <a:pt x="652653" y="133636"/>
                  <a:pt x="656749" y="170593"/>
                </a:cubicBezTo>
                <a:cubicBezTo>
                  <a:pt x="659892" y="198215"/>
                  <a:pt x="682086" y="220789"/>
                  <a:pt x="709803" y="224218"/>
                </a:cubicBezTo>
                <a:cubicBezTo>
                  <a:pt x="745998" y="228695"/>
                  <a:pt x="776955" y="201549"/>
                  <a:pt x="778764" y="166687"/>
                </a:cubicBezTo>
                <a:lnTo>
                  <a:pt x="778669" y="166687"/>
                </a:lnTo>
                <a:lnTo>
                  <a:pt x="778669" y="160306"/>
                </a:lnTo>
                <a:cubicBezTo>
                  <a:pt x="776955" y="128016"/>
                  <a:pt x="750285" y="102299"/>
                  <a:pt x="717519" y="102299"/>
                </a:cubicBezTo>
                <a:close/>
                <a:moveTo>
                  <a:pt x="366808" y="102299"/>
                </a:moveTo>
                <a:cubicBezTo>
                  <a:pt x="333089" y="102299"/>
                  <a:pt x="305657" y="129731"/>
                  <a:pt x="305657" y="163449"/>
                </a:cubicBezTo>
                <a:cubicBezTo>
                  <a:pt x="305657" y="197168"/>
                  <a:pt x="332994" y="224600"/>
                  <a:pt x="366808" y="224600"/>
                </a:cubicBezTo>
                <a:cubicBezTo>
                  <a:pt x="400527" y="224600"/>
                  <a:pt x="427958" y="197168"/>
                  <a:pt x="427958" y="163449"/>
                </a:cubicBezTo>
                <a:cubicBezTo>
                  <a:pt x="427958" y="129731"/>
                  <a:pt x="400527" y="102299"/>
                  <a:pt x="366808" y="102299"/>
                </a:cubicBezTo>
                <a:close/>
                <a:moveTo>
                  <a:pt x="962039" y="96385"/>
                </a:moveTo>
                <a:cubicBezTo>
                  <a:pt x="954578" y="96227"/>
                  <a:pt x="946666" y="97513"/>
                  <a:pt x="938499" y="100585"/>
                </a:cubicBezTo>
                <a:cubicBezTo>
                  <a:pt x="909733" y="111348"/>
                  <a:pt x="896779" y="136875"/>
                  <a:pt x="896779" y="159068"/>
                </a:cubicBezTo>
                <a:lnTo>
                  <a:pt x="896779" y="159164"/>
                </a:lnTo>
                <a:lnTo>
                  <a:pt x="1011746" y="127541"/>
                </a:lnTo>
                <a:cubicBezTo>
                  <a:pt x="1002744" y="110324"/>
                  <a:pt x="984421" y="96858"/>
                  <a:pt x="962039" y="96385"/>
                </a:cubicBezTo>
                <a:close/>
                <a:moveTo>
                  <a:pt x="1181005" y="57436"/>
                </a:moveTo>
                <a:cubicBezTo>
                  <a:pt x="1242060" y="52673"/>
                  <a:pt x="1295686" y="99346"/>
                  <a:pt x="1295686" y="165354"/>
                </a:cubicBezTo>
                <a:lnTo>
                  <a:pt x="1295686" y="266700"/>
                </a:lnTo>
                <a:lnTo>
                  <a:pt x="1254538" y="266700"/>
                </a:lnTo>
                <a:lnTo>
                  <a:pt x="1254538" y="235458"/>
                </a:lnTo>
                <a:cubicBezTo>
                  <a:pt x="1241108" y="258604"/>
                  <a:pt x="1211295" y="269558"/>
                  <a:pt x="1189292" y="269558"/>
                </a:cubicBezTo>
                <a:cubicBezTo>
                  <a:pt x="1128332" y="269558"/>
                  <a:pt x="1079373" y="218408"/>
                  <a:pt x="1083278" y="156591"/>
                </a:cubicBezTo>
                <a:cubicBezTo>
                  <a:pt x="1086612" y="104299"/>
                  <a:pt x="1128236" y="61627"/>
                  <a:pt x="1181005" y="57531"/>
                </a:cubicBezTo>
                <a:close/>
                <a:moveTo>
                  <a:pt x="956311" y="57246"/>
                </a:moveTo>
                <a:lnTo>
                  <a:pt x="956311" y="57341"/>
                </a:lnTo>
                <a:cubicBezTo>
                  <a:pt x="1023557" y="55436"/>
                  <a:pt x="1059466" y="111062"/>
                  <a:pt x="1064134" y="151924"/>
                </a:cubicBezTo>
                <a:lnTo>
                  <a:pt x="904876" y="195359"/>
                </a:lnTo>
                <a:cubicBezTo>
                  <a:pt x="915258" y="214980"/>
                  <a:pt x="941737" y="232506"/>
                  <a:pt x="970503" y="227172"/>
                </a:cubicBezTo>
                <a:cubicBezTo>
                  <a:pt x="991077" y="223267"/>
                  <a:pt x="1008984" y="208693"/>
                  <a:pt x="1016413" y="191930"/>
                </a:cubicBezTo>
                <a:lnTo>
                  <a:pt x="1057371" y="204121"/>
                </a:lnTo>
                <a:cubicBezTo>
                  <a:pt x="1041274" y="244889"/>
                  <a:pt x="1000507" y="270035"/>
                  <a:pt x="958787" y="270035"/>
                </a:cubicBezTo>
                <a:cubicBezTo>
                  <a:pt x="898970" y="270035"/>
                  <a:pt x="852488" y="222029"/>
                  <a:pt x="852488" y="164593"/>
                </a:cubicBezTo>
                <a:cubicBezTo>
                  <a:pt x="852488" y="102299"/>
                  <a:pt x="900494" y="58770"/>
                  <a:pt x="956311" y="57246"/>
                </a:cubicBezTo>
                <a:close/>
                <a:moveTo>
                  <a:pt x="366903" y="57055"/>
                </a:moveTo>
                <a:cubicBezTo>
                  <a:pt x="425673" y="57055"/>
                  <a:pt x="473298" y="104680"/>
                  <a:pt x="473298" y="163449"/>
                </a:cubicBezTo>
                <a:cubicBezTo>
                  <a:pt x="473298" y="222219"/>
                  <a:pt x="425673" y="269844"/>
                  <a:pt x="366903" y="269844"/>
                </a:cubicBezTo>
                <a:cubicBezTo>
                  <a:pt x="308134" y="269844"/>
                  <a:pt x="260509" y="222219"/>
                  <a:pt x="260509" y="163449"/>
                </a:cubicBezTo>
                <a:cubicBezTo>
                  <a:pt x="260509" y="104680"/>
                  <a:pt x="308134" y="57055"/>
                  <a:pt x="366903" y="57055"/>
                </a:cubicBezTo>
                <a:close/>
                <a:moveTo>
                  <a:pt x="605885" y="56769"/>
                </a:moveTo>
                <a:lnTo>
                  <a:pt x="605885" y="100393"/>
                </a:lnTo>
                <a:lnTo>
                  <a:pt x="605981" y="100393"/>
                </a:lnTo>
                <a:cubicBezTo>
                  <a:pt x="574453" y="102013"/>
                  <a:pt x="547307" y="120301"/>
                  <a:pt x="547307" y="167164"/>
                </a:cubicBezTo>
                <a:cubicBezTo>
                  <a:pt x="547307" y="205073"/>
                  <a:pt x="547402" y="204025"/>
                  <a:pt x="547402" y="266795"/>
                </a:cubicBezTo>
                <a:lnTo>
                  <a:pt x="500920" y="266795"/>
                </a:lnTo>
                <a:lnTo>
                  <a:pt x="500920" y="63722"/>
                </a:lnTo>
                <a:lnTo>
                  <a:pt x="546164" y="63722"/>
                </a:lnTo>
                <a:lnTo>
                  <a:pt x="546164" y="87154"/>
                </a:lnTo>
                <a:cubicBezTo>
                  <a:pt x="552069" y="76295"/>
                  <a:pt x="566166" y="56769"/>
                  <a:pt x="605885" y="56769"/>
                </a:cubicBezTo>
                <a:close/>
                <a:moveTo>
                  <a:pt x="0" y="21622"/>
                </a:moveTo>
                <a:lnTo>
                  <a:pt x="47339" y="21622"/>
                </a:lnTo>
                <a:lnTo>
                  <a:pt x="186214" y="185166"/>
                </a:lnTo>
                <a:lnTo>
                  <a:pt x="186214" y="21622"/>
                </a:lnTo>
                <a:lnTo>
                  <a:pt x="233077" y="21622"/>
                </a:lnTo>
                <a:lnTo>
                  <a:pt x="232982" y="266700"/>
                </a:lnTo>
                <a:lnTo>
                  <a:pt x="189548" y="266700"/>
                </a:lnTo>
                <a:lnTo>
                  <a:pt x="48959" y="102680"/>
                </a:lnTo>
                <a:lnTo>
                  <a:pt x="48959" y="266414"/>
                </a:lnTo>
                <a:lnTo>
                  <a:pt x="0" y="266414"/>
                </a:lnTo>
                <a:close/>
                <a:moveTo>
                  <a:pt x="780098" y="0"/>
                </a:moveTo>
                <a:lnTo>
                  <a:pt x="823722" y="0"/>
                </a:lnTo>
                <a:lnTo>
                  <a:pt x="823722" y="161449"/>
                </a:lnTo>
                <a:cubicBezTo>
                  <a:pt x="823722" y="162115"/>
                  <a:pt x="823722" y="162782"/>
                  <a:pt x="823722" y="163449"/>
                </a:cubicBezTo>
                <a:cubicBezTo>
                  <a:pt x="823722" y="164116"/>
                  <a:pt x="823722" y="164783"/>
                  <a:pt x="823722" y="165449"/>
                </a:cubicBezTo>
                <a:lnTo>
                  <a:pt x="823722" y="266795"/>
                </a:lnTo>
                <a:cubicBezTo>
                  <a:pt x="823722" y="266795"/>
                  <a:pt x="782765" y="266795"/>
                  <a:pt x="782765" y="266795"/>
                </a:cubicBezTo>
                <a:lnTo>
                  <a:pt x="782765" y="239649"/>
                </a:lnTo>
                <a:cubicBezTo>
                  <a:pt x="771906" y="258889"/>
                  <a:pt x="740283" y="269748"/>
                  <a:pt x="717519" y="269748"/>
                </a:cubicBezTo>
                <a:cubicBezTo>
                  <a:pt x="656559" y="269748"/>
                  <a:pt x="607600" y="218408"/>
                  <a:pt x="611505" y="156591"/>
                </a:cubicBezTo>
                <a:cubicBezTo>
                  <a:pt x="614839" y="104299"/>
                  <a:pt x="656940" y="61722"/>
                  <a:pt x="709232" y="57531"/>
                </a:cubicBezTo>
                <a:cubicBezTo>
                  <a:pt x="737235" y="55245"/>
                  <a:pt x="769716" y="66104"/>
                  <a:pt x="780098" y="79819"/>
                </a:cubicBezTo>
                <a:close/>
              </a:path>
            </a:pathLst>
          </a:custGeom>
          <a:solidFill>
            <a:schemeClr val="bg1"/>
          </a:soli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1132105994"/>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Image and Heading">
    <p:bg>
      <p:bgPr>
        <a:solidFill>
          <a:schemeClr val="bg1">
            <a:lumMod val="95000"/>
          </a:schemeClr>
        </a:solidFill>
        <a:effectLst/>
      </p:bgPr>
    </p:bg>
    <p:spTree>
      <p:nvGrpSpPr>
        <p:cNvPr id="1" name=""/>
        <p:cNvGrpSpPr/>
        <p:nvPr/>
      </p:nvGrpSpPr>
      <p:grpSpPr>
        <a:xfrm>
          <a:off x="0" y="0"/>
          <a:ext cx="0" cy="0"/>
          <a:chOff x="0" y="0"/>
          <a:chExt cx="0" cy="0"/>
        </a:xfrm>
      </p:grpSpPr>
      <p:sp>
        <p:nvSpPr>
          <p:cNvPr id="28" name="Picture Placeholder 5"/>
          <p:cNvSpPr>
            <a:spLocks noGrp="1"/>
          </p:cNvSpPr>
          <p:nvPr>
            <p:ph type="pic" sz="quarter" idx="15" hasCustomPrompt="1"/>
          </p:nvPr>
        </p:nvSpPr>
        <p:spPr>
          <a:xfrm>
            <a:off x="0" y="0"/>
            <a:ext cx="12195175" cy="6859588"/>
          </a:xfrm>
          <a:noFill/>
        </p:spPr>
        <p:txBody>
          <a:bodyPr anchor="ctr" anchorCtr="0"/>
          <a:lstStyle>
            <a:lvl1pPr marL="0" indent="0" algn="ctr">
              <a:buNone/>
              <a:defRPr baseline="0">
                <a:solidFill>
                  <a:schemeClr val="accent1"/>
                </a:solidFill>
              </a:defRPr>
            </a:lvl1pPr>
          </a:lstStyle>
          <a:p>
            <a:r>
              <a:rPr lang="en-GB"/>
              <a:t>Insert image by clicking on placeholder + Images button</a:t>
            </a:r>
            <a:endParaRPr lang="en-GB" dirty="0"/>
          </a:p>
        </p:txBody>
      </p:sp>
      <p:sp>
        <p:nvSpPr>
          <p:cNvPr id="2" name="Title 1"/>
          <p:cNvSpPr>
            <a:spLocks noGrp="1"/>
          </p:cNvSpPr>
          <p:nvPr>
            <p:ph type="ctrTitle"/>
          </p:nvPr>
        </p:nvSpPr>
        <p:spPr>
          <a:xfrm>
            <a:off x="648000" y="360000"/>
            <a:ext cx="7200000" cy="972000"/>
          </a:xfrm>
        </p:spPr>
        <p:txBody>
          <a:bodyPr>
            <a:noAutofit/>
          </a:bodyPr>
          <a:lstStyle>
            <a:lvl1pPr>
              <a:defRPr sz="3000">
                <a:solidFill>
                  <a:schemeClr val="accent1"/>
                </a:solidFill>
              </a:defRPr>
            </a:lvl1pPr>
          </a:lstStyle>
          <a:p>
            <a:r>
              <a:rPr lang="en-GB"/>
              <a:t>Click to edit Master title style</a:t>
            </a:r>
            <a:endParaRPr lang="en-GB" dirty="0"/>
          </a:p>
        </p:txBody>
      </p:sp>
      <p:sp>
        <p:nvSpPr>
          <p:cNvPr id="3" name="Subtitle 2"/>
          <p:cNvSpPr>
            <a:spLocks noGrp="1"/>
          </p:cNvSpPr>
          <p:nvPr>
            <p:ph type="subTitle" idx="1"/>
          </p:nvPr>
        </p:nvSpPr>
        <p:spPr>
          <a:xfrm>
            <a:off x="648000" y="1510482"/>
            <a:ext cx="7200000" cy="685243"/>
          </a:xfrm>
        </p:spPr>
        <p:txBody>
          <a:bodyPr>
            <a:noAutofit/>
          </a:bodyPr>
          <a:lstStyle>
            <a:lvl1pPr marL="0" indent="0" algn="l">
              <a:buNone/>
              <a:defRPr b="1">
                <a:solidFill>
                  <a:schemeClr val="accent1"/>
                </a:solidFill>
                <a:latin typeface="+mj-lt"/>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5" name="Platshållare för sidfot 4"/>
          <p:cNvSpPr>
            <a:spLocks noGrp="1"/>
          </p:cNvSpPr>
          <p:nvPr>
            <p:ph type="ftr" sz="quarter" idx="16"/>
          </p:nvPr>
        </p:nvSpPr>
        <p:spPr/>
        <p:txBody>
          <a:bodyPr/>
          <a:lstStyle>
            <a:lvl1pPr>
              <a:defRPr>
                <a:solidFill>
                  <a:srgbClr val="8B8A8D"/>
                </a:solidFill>
              </a:defRPr>
            </a:lvl1pPr>
          </a:lstStyle>
          <a:p>
            <a:endParaRPr lang="en-GB" dirty="0"/>
          </a:p>
        </p:txBody>
      </p:sp>
      <p:sp>
        <p:nvSpPr>
          <p:cNvPr id="6" name="Platshållare för bildnummer 5"/>
          <p:cNvSpPr>
            <a:spLocks noGrp="1"/>
          </p:cNvSpPr>
          <p:nvPr>
            <p:ph type="sldNum" sz="quarter" idx="17"/>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4" name="Logotype, static">
            <a:extLst>
              <a:ext uri="{FF2B5EF4-FFF2-40B4-BE49-F238E27FC236}">
                <a16:creationId xmlns:a16="http://schemas.microsoft.com/office/drawing/2014/main" id="{217402D2-E40B-9ED9-450B-C9603CAF484D}"/>
              </a:ext>
            </a:extLst>
          </p:cNvPr>
          <p:cNvSpPr>
            <a:spLocks noChangeAspect="1"/>
          </p:cNvSpPr>
          <p:nvPr userDrawn="1"/>
        </p:nvSpPr>
        <p:spPr>
          <a:xfrm>
            <a:off x="10689559" y="6389370"/>
            <a:ext cx="864000" cy="180067"/>
          </a:xfrm>
          <a:custGeom>
            <a:avLst/>
            <a:gdLst>
              <a:gd name="connsiteX0" fmla="*/ 1189292 w 1295686"/>
              <a:gd name="connsiteY0" fmla="*/ 102299 h 270035"/>
              <a:gd name="connsiteX1" fmla="*/ 1128522 w 1295686"/>
              <a:gd name="connsiteY1" fmla="*/ 170593 h 270035"/>
              <a:gd name="connsiteX2" fmla="*/ 1181576 w 1295686"/>
              <a:gd name="connsiteY2" fmla="*/ 224219 h 270035"/>
              <a:gd name="connsiteX3" fmla="*/ 1250537 w 1295686"/>
              <a:gd name="connsiteY3" fmla="*/ 166688 h 270035"/>
              <a:gd name="connsiteX4" fmla="*/ 1250442 w 1295686"/>
              <a:gd name="connsiteY4" fmla="*/ 166688 h 270035"/>
              <a:gd name="connsiteX5" fmla="*/ 1250442 w 1295686"/>
              <a:gd name="connsiteY5" fmla="*/ 160306 h 270035"/>
              <a:gd name="connsiteX6" fmla="*/ 1189292 w 1295686"/>
              <a:gd name="connsiteY6" fmla="*/ 102299 h 270035"/>
              <a:gd name="connsiteX7" fmla="*/ 717519 w 1295686"/>
              <a:gd name="connsiteY7" fmla="*/ 102299 h 270035"/>
              <a:gd name="connsiteX8" fmla="*/ 656749 w 1295686"/>
              <a:gd name="connsiteY8" fmla="*/ 170593 h 270035"/>
              <a:gd name="connsiteX9" fmla="*/ 709803 w 1295686"/>
              <a:gd name="connsiteY9" fmla="*/ 224218 h 270035"/>
              <a:gd name="connsiteX10" fmla="*/ 778764 w 1295686"/>
              <a:gd name="connsiteY10" fmla="*/ 166687 h 270035"/>
              <a:gd name="connsiteX11" fmla="*/ 778669 w 1295686"/>
              <a:gd name="connsiteY11" fmla="*/ 166687 h 270035"/>
              <a:gd name="connsiteX12" fmla="*/ 778669 w 1295686"/>
              <a:gd name="connsiteY12" fmla="*/ 160306 h 270035"/>
              <a:gd name="connsiteX13" fmla="*/ 717519 w 1295686"/>
              <a:gd name="connsiteY13" fmla="*/ 102299 h 270035"/>
              <a:gd name="connsiteX14" fmla="*/ 366808 w 1295686"/>
              <a:gd name="connsiteY14" fmla="*/ 102299 h 270035"/>
              <a:gd name="connsiteX15" fmla="*/ 305657 w 1295686"/>
              <a:gd name="connsiteY15" fmla="*/ 163449 h 270035"/>
              <a:gd name="connsiteX16" fmla="*/ 366808 w 1295686"/>
              <a:gd name="connsiteY16" fmla="*/ 224600 h 270035"/>
              <a:gd name="connsiteX17" fmla="*/ 427958 w 1295686"/>
              <a:gd name="connsiteY17" fmla="*/ 163449 h 270035"/>
              <a:gd name="connsiteX18" fmla="*/ 366808 w 1295686"/>
              <a:gd name="connsiteY18" fmla="*/ 102299 h 270035"/>
              <a:gd name="connsiteX19" fmla="*/ 962039 w 1295686"/>
              <a:gd name="connsiteY19" fmla="*/ 96385 h 270035"/>
              <a:gd name="connsiteX20" fmla="*/ 938499 w 1295686"/>
              <a:gd name="connsiteY20" fmla="*/ 100585 h 270035"/>
              <a:gd name="connsiteX21" fmla="*/ 896779 w 1295686"/>
              <a:gd name="connsiteY21" fmla="*/ 159068 h 270035"/>
              <a:gd name="connsiteX22" fmla="*/ 896779 w 1295686"/>
              <a:gd name="connsiteY22" fmla="*/ 159164 h 270035"/>
              <a:gd name="connsiteX23" fmla="*/ 1011746 w 1295686"/>
              <a:gd name="connsiteY23" fmla="*/ 127541 h 270035"/>
              <a:gd name="connsiteX24" fmla="*/ 962039 w 1295686"/>
              <a:gd name="connsiteY24" fmla="*/ 96385 h 270035"/>
              <a:gd name="connsiteX25" fmla="*/ 1181005 w 1295686"/>
              <a:gd name="connsiteY25" fmla="*/ 57436 h 270035"/>
              <a:gd name="connsiteX26" fmla="*/ 1295686 w 1295686"/>
              <a:gd name="connsiteY26" fmla="*/ 165354 h 270035"/>
              <a:gd name="connsiteX27" fmla="*/ 1295686 w 1295686"/>
              <a:gd name="connsiteY27" fmla="*/ 266700 h 270035"/>
              <a:gd name="connsiteX28" fmla="*/ 1254538 w 1295686"/>
              <a:gd name="connsiteY28" fmla="*/ 266700 h 270035"/>
              <a:gd name="connsiteX29" fmla="*/ 1254538 w 1295686"/>
              <a:gd name="connsiteY29" fmla="*/ 235458 h 270035"/>
              <a:gd name="connsiteX30" fmla="*/ 1189292 w 1295686"/>
              <a:gd name="connsiteY30" fmla="*/ 269558 h 270035"/>
              <a:gd name="connsiteX31" fmla="*/ 1083278 w 1295686"/>
              <a:gd name="connsiteY31" fmla="*/ 156591 h 270035"/>
              <a:gd name="connsiteX32" fmla="*/ 1181005 w 1295686"/>
              <a:gd name="connsiteY32" fmla="*/ 57531 h 270035"/>
              <a:gd name="connsiteX33" fmla="*/ 956311 w 1295686"/>
              <a:gd name="connsiteY33" fmla="*/ 57246 h 270035"/>
              <a:gd name="connsiteX34" fmla="*/ 956311 w 1295686"/>
              <a:gd name="connsiteY34" fmla="*/ 57341 h 270035"/>
              <a:gd name="connsiteX35" fmla="*/ 1064134 w 1295686"/>
              <a:gd name="connsiteY35" fmla="*/ 151924 h 270035"/>
              <a:gd name="connsiteX36" fmla="*/ 904876 w 1295686"/>
              <a:gd name="connsiteY36" fmla="*/ 195359 h 270035"/>
              <a:gd name="connsiteX37" fmla="*/ 970503 w 1295686"/>
              <a:gd name="connsiteY37" fmla="*/ 227172 h 270035"/>
              <a:gd name="connsiteX38" fmla="*/ 1016413 w 1295686"/>
              <a:gd name="connsiteY38" fmla="*/ 191930 h 270035"/>
              <a:gd name="connsiteX39" fmla="*/ 1057371 w 1295686"/>
              <a:gd name="connsiteY39" fmla="*/ 204121 h 270035"/>
              <a:gd name="connsiteX40" fmla="*/ 958787 w 1295686"/>
              <a:gd name="connsiteY40" fmla="*/ 270035 h 270035"/>
              <a:gd name="connsiteX41" fmla="*/ 852488 w 1295686"/>
              <a:gd name="connsiteY41" fmla="*/ 164593 h 270035"/>
              <a:gd name="connsiteX42" fmla="*/ 956311 w 1295686"/>
              <a:gd name="connsiteY42" fmla="*/ 57246 h 270035"/>
              <a:gd name="connsiteX43" fmla="*/ 366903 w 1295686"/>
              <a:gd name="connsiteY43" fmla="*/ 57055 h 270035"/>
              <a:gd name="connsiteX44" fmla="*/ 473298 w 1295686"/>
              <a:gd name="connsiteY44" fmla="*/ 163449 h 270035"/>
              <a:gd name="connsiteX45" fmla="*/ 366903 w 1295686"/>
              <a:gd name="connsiteY45" fmla="*/ 269844 h 270035"/>
              <a:gd name="connsiteX46" fmla="*/ 260509 w 1295686"/>
              <a:gd name="connsiteY46" fmla="*/ 163449 h 270035"/>
              <a:gd name="connsiteX47" fmla="*/ 366903 w 1295686"/>
              <a:gd name="connsiteY47" fmla="*/ 57055 h 270035"/>
              <a:gd name="connsiteX48" fmla="*/ 605885 w 1295686"/>
              <a:gd name="connsiteY48" fmla="*/ 56769 h 270035"/>
              <a:gd name="connsiteX49" fmla="*/ 605885 w 1295686"/>
              <a:gd name="connsiteY49" fmla="*/ 100393 h 270035"/>
              <a:gd name="connsiteX50" fmla="*/ 605981 w 1295686"/>
              <a:gd name="connsiteY50" fmla="*/ 100393 h 270035"/>
              <a:gd name="connsiteX51" fmla="*/ 547307 w 1295686"/>
              <a:gd name="connsiteY51" fmla="*/ 167164 h 270035"/>
              <a:gd name="connsiteX52" fmla="*/ 547402 w 1295686"/>
              <a:gd name="connsiteY52" fmla="*/ 266795 h 270035"/>
              <a:gd name="connsiteX53" fmla="*/ 500920 w 1295686"/>
              <a:gd name="connsiteY53" fmla="*/ 266795 h 270035"/>
              <a:gd name="connsiteX54" fmla="*/ 500920 w 1295686"/>
              <a:gd name="connsiteY54" fmla="*/ 63722 h 270035"/>
              <a:gd name="connsiteX55" fmla="*/ 546164 w 1295686"/>
              <a:gd name="connsiteY55" fmla="*/ 63722 h 270035"/>
              <a:gd name="connsiteX56" fmla="*/ 546164 w 1295686"/>
              <a:gd name="connsiteY56" fmla="*/ 87154 h 270035"/>
              <a:gd name="connsiteX57" fmla="*/ 605885 w 1295686"/>
              <a:gd name="connsiteY57" fmla="*/ 56769 h 270035"/>
              <a:gd name="connsiteX58" fmla="*/ 0 w 1295686"/>
              <a:gd name="connsiteY58" fmla="*/ 21622 h 270035"/>
              <a:gd name="connsiteX59" fmla="*/ 47339 w 1295686"/>
              <a:gd name="connsiteY59" fmla="*/ 21622 h 270035"/>
              <a:gd name="connsiteX60" fmla="*/ 186214 w 1295686"/>
              <a:gd name="connsiteY60" fmla="*/ 185166 h 270035"/>
              <a:gd name="connsiteX61" fmla="*/ 186214 w 1295686"/>
              <a:gd name="connsiteY61" fmla="*/ 21622 h 270035"/>
              <a:gd name="connsiteX62" fmla="*/ 233077 w 1295686"/>
              <a:gd name="connsiteY62" fmla="*/ 21622 h 270035"/>
              <a:gd name="connsiteX63" fmla="*/ 232982 w 1295686"/>
              <a:gd name="connsiteY63" fmla="*/ 266700 h 270035"/>
              <a:gd name="connsiteX64" fmla="*/ 189548 w 1295686"/>
              <a:gd name="connsiteY64" fmla="*/ 266700 h 270035"/>
              <a:gd name="connsiteX65" fmla="*/ 48959 w 1295686"/>
              <a:gd name="connsiteY65" fmla="*/ 102680 h 270035"/>
              <a:gd name="connsiteX66" fmla="*/ 48959 w 1295686"/>
              <a:gd name="connsiteY66" fmla="*/ 266414 h 270035"/>
              <a:gd name="connsiteX67" fmla="*/ 0 w 1295686"/>
              <a:gd name="connsiteY67" fmla="*/ 266414 h 270035"/>
              <a:gd name="connsiteX68" fmla="*/ 780098 w 1295686"/>
              <a:gd name="connsiteY68" fmla="*/ 0 h 270035"/>
              <a:gd name="connsiteX69" fmla="*/ 823722 w 1295686"/>
              <a:gd name="connsiteY69" fmla="*/ 0 h 270035"/>
              <a:gd name="connsiteX70" fmla="*/ 823722 w 1295686"/>
              <a:gd name="connsiteY70" fmla="*/ 161449 h 270035"/>
              <a:gd name="connsiteX71" fmla="*/ 823722 w 1295686"/>
              <a:gd name="connsiteY71" fmla="*/ 163449 h 270035"/>
              <a:gd name="connsiteX72" fmla="*/ 823722 w 1295686"/>
              <a:gd name="connsiteY72" fmla="*/ 165449 h 270035"/>
              <a:gd name="connsiteX73" fmla="*/ 823722 w 1295686"/>
              <a:gd name="connsiteY73" fmla="*/ 266795 h 270035"/>
              <a:gd name="connsiteX74" fmla="*/ 782765 w 1295686"/>
              <a:gd name="connsiteY74" fmla="*/ 266795 h 270035"/>
              <a:gd name="connsiteX75" fmla="*/ 782765 w 1295686"/>
              <a:gd name="connsiteY75" fmla="*/ 239649 h 270035"/>
              <a:gd name="connsiteX76" fmla="*/ 717519 w 1295686"/>
              <a:gd name="connsiteY76" fmla="*/ 269748 h 270035"/>
              <a:gd name="connsiteX77" fmla="*/ 611505 w 1295686"/>
              <a:gd name="connsiteY77" fmla="*/ 156591 h 270035"/>
              <a:gd name="connsiteX78" fmla="*/ 709232 w 1295686"/>
              <a:gd name="connsiteY78" fmla="*/ 57531 h 270035"/>
              <a:gd name="connsiteX79" fmla="*/ 780098 w 1295686"/>
              <a:gd name="connsiteY79" fmla="*/ 79819 h 27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95686" h="270035">
                <a:moveTo>
                  <a:pt x="1189292" y="102299"/>
                </a:moveTo>
                <a:cubicBezTo>
                  <a:pt x="1153192" y="102299"/>
                  <a:pt x="1124426" y="133636"/>
                  <a:pt x="1128522" y="170593"/>
                </a:cubicBezTo>
                <a:cubicBezTo>
                  <a:pt x="1131665" y="198215"/>
                  <a:pt x="1153859" y="220790"/>
                  <a:pt x="1181576" y="224219"/>
                </a:cubicBezTo>
                <a:cubicBezTo>
                  <a:pt x="1217771" y="228695"/>
                  <a:pt x="1248728" y="201549"/>
                  <a:pt x="1250537" y="166688"/>
                </a:cubicBezTo>
                <a:lnTo>
                  <a:pt x="1250442" y="166688"/>
                </a:lnTo>
                <a:lnTo>
                  <a:pt x="1250442" y="160306"/>
                </a:lnTo>
                <a:cubicBezTo>
                  <a:pt x="1248728" y="128016"/>
                  <a:pt x="1222058" y="102299"/>
                  <a:pt x="1189292" y="102299"/>
                </a:cubicBezTo>
                <a:close/>
                <a:moveTo>
                  <a:pt x="717519" y="102299"/>
                </a:moveTo>
                <a:cubicBezTo>
                  <a:pt x="681419" y="102299"/>
                  <a:pt x="652653" y="133636"/>
                  <a:pt x="656749" y="170593"/>
                </a:cubicBezTo>
                <a:cubicBezTo>
                  <a:pt x="659892" y="198215"/>
                  <a:pt x="682086" y="220789"/>
                  <a:pt x="709803" y="224218"/>
                </a:cubicBezTo>
                <a:cubicBezTo>
                  <a:pt x="745998" y="228695"/>
                  <a:pt x="776955" y="201549"/>
                  <a:pt x="778764" y="166687"/>
                </a:cubicBezTo>
                <a:lnTo>
                  <a:pt x="778669" y="166687"/>
                </a:lnTo>
                <a:lnTo>
                  <a:pt x="778669" y="160306"/>
                </a:lnTo>
                <a:cubicBezTo>
                  <a:pt x="776955" y="128016"/>
                  <a:pt x="750285" y="102299"/>
                  <a:pt x="717519" y="102299"/>
                </a:cubicBezTo>
                <a:close/>
                <a:moveTo>
                  <a:pt x="366808" y="102299"/>
                </a:moveTo>
                <a:cubicBezTo>
                  <a:pt x="333089" y="102299"/>
                  <a:pt x="305657" y="129731"/>
                  <a:pt x="305657" y="163449"/>
                </a:cubicBezTo>
                <a:cubicBezTo>
                  <a:pt x="305657" y="197168"/>
                  <a:pt x="332994" y="224600"/>
                  <a:pt x="366808" y="224600"/>
                </a:cubicBezTo>
                <a:cubicBezTo>
                  <a:pt x="400527" y="224600"/>
                  <a:pt x="427958" y="197168"/>
                  <a:pt x="427958" y="163449"/>
                </a:cubicBezTo>
                <a:cubicBezTo>
                  <a:pt x="427958" y="129731"/>
                  <a:pt x="400527" y="102299"/>
                  <a:pt x="366808" y="102299"/>
                </a:cubicBezTo>
                <a:close/>
                <a:moveTo>
                  <a:pt x="962039" y="96385"/>
                </a:moveTo>
                <a:cubicBezTo>
                  <a:pt x="954578" y="96227"/>
                  <a:pt x="946666" y="97513"/>
                  <a:pt x="938499" y="100585"/>
                </a:cubicBezTo>
                <a:cubicBezTo>
                  <a:pt x="909733" y="111348"/>
                  <a:pt x="896779" y="136875"/>
                  <a:pt x="896779" y="159068"/>
                </a:cubicBezTo>
                <a:lnTo>
                  <a:pt x="896779" y="159164"/>
                </a:lnTo>
                <a:lnTo>
                  <a:pt x="1011746" y="127541"/>
                </a:lnTo>
                <a:cubicBezTo>
                  <a:pt x="1002744" y="110324"/>
                  <a:pt x="984421" y="96858"/>
                  <a:pt x="962039" y="96385"/>
                </a:cubicBezTo>
                <a:close/>
                <a:moveTo>
                  <a:pt x="1181005" y="57436"/>
                </a:moveTo>
                <a:cubicBezTo>
                  <a:pt x="1242060" y="52673"/>
                  <a:pt x="1295686" y="99346"/>
                  <a:pt x="1295686" y="165354"/>
                </a:cubicBezTo>
                <a:lnTo>
                  <a:pt x="1295686" y="266700"/>
                </a:lnTo>
                <a:lnTo>
                  <a:pt x="1254538" y="266700"/>
                </a:lnTo>
                <a:lnTo>
                  <a:pt x="1254538" y="235458"/>
                </a:lnTo>
                <a:cubicBezTo>
                  <a:pt x="1241108" y="258604"/>
                  <a:pt x="1211295" y="269558"/>
                  <a:pt x="1189292" y="269558"/>
                </a:cubicBezTo>
                <a:cubicBezTo>
                  <a:pt x="1128332" y="269558"/>
                  <a:pt x="1079373" y="218408"/>
                  <a:pt x="1083278" y="156591"/>
                </a:cubicBezTo>
                <a:cubicBezTo>
                  <a:pt x="1086612" y="104299"/>
                  <a:pt x="1128236" y="61627"/>
                  <a:pt x="1181005" y="57531"/>
                </a:cubicBezTo>
                <a:close/>
                <a:moveTo>
                  <a:pt x="956311" y="57246"/>
                </a:moveTo>
                <a:lnTo>
                  <a:pt x="956311" y="57341"/>
                </a:lnTo>
                <a:cubicBezTo>
                  <a:pt x="1023557" y="55436"/>
                  <a:pt x="1059466" y="111062"/>
                  <a:pt x="1064134" y="151924"/>
                </a:cubicBezTo>
                <a:lnTo>
                  <a:pt x="904876" y="195359"/>
                </a:lnTo>
                <a:cubicBezTo>
                  <a:pt x="915258" y="214980"/>
                  <a:pt x="941737" y="232506"/>
                  <a:pt x="970503" y="227172"/>
                </a:cubicBezTo>
                <a:cubicBezTo>
                  <a:pt x="991077" y="223267"/>
                  <a:pt x="1008984" y="208693"/>
                  <a:pt x="1016413" y="191930"/>
                </a:cubicBezTo>
                <a:lnTo>
                  <a:pt x="1057371" y="204121"/>
                </a:lnTo>
                <a:cubicBezTo>
                  <a:pt x="1041274" y="244889"/>
                  <a:pt x="1000507" y="270035"/>
                  <a:pt x="958787" y="270035"/>
                </a:cubicBezTo>
                <a:cubicBezTo>
                  <a:pt x="898970" y="270035"/>
                  <a:pt x="852488" y="222029"/>
                  <a:pt x="852488" y="164593"/>
                </a:cubicBezTo>
                <a:cubicBezTo>
                  <a:pt x="852488" y="102299"/>
                  <a:pt x="900494" y="58770"/>
                  <a:pt x="956311" y="57246"/>
                </a:cubicBezTo>
                <a:close/>
                <a:moveTo>
                  <a:pt x="366903" y="57055"/>
                </a:moveTo>
                <a:cubicBezTo>
                  <a:pt x="425673" y="57055"/>
                  <a:pt x="473298" y="104680"/>
                  <a:pt x="473298" y="163449"/>
                </a:cubicBezTo>
                <a:cubicBezTo>
                  <a:pt x="473298" y="222219"/>
                  <a:pt x="425673" y="269844"/>
                  <a:pt x="366903" y="269844"/>
                </a:cubicBezTo>
                <a:cubicBezTo>
                  <a:pt x="308134" y="269844"/>
                  <a:pt x="260509" y="222219"/>
                  <a:pt x="260509" y="163449"/>
                </a:cubicBezTo>
                <a:cubicBezTo>
                  <a:pt x="260509" y="104680"/>
                  <a:pt x="308134" y="57055"/>
                  <a:pt x="366903" y="57055"/>
                </a:cubicBezTo>
                <a:close/>
                <a:moveTo>
                  <a:pt x="605885" y="56769"/>
                </a:moveTo>
                <a:lnTo>
                  <a:pt x="605885" y="100393"/>
                </a:lnTo>
                <a:lnTo>
                  <a:pt x="605981" y="100393"/>
                </a:lnTo>
                <a:cubicBezTo>
                  <a:pt x="574453" y="102013"/>
                  <a:pt x="547307" y="120301"/>
                  <a:pt x="547307" y="167164"/>
                </a:cubicBezTo>
                <a:cubicBezTo>
                  <a:pt x="547307" y="205073"/>
                  <a:pt x="547402" y="204025"/>
                  <a:pt x="547402" y="266795"/>
                </a:cubicBezTo>
                <a:lnTo>
                  <a:pt x="500920" y="266795"/>
                </a:lnTo>
                <a:lnTo>
                  <a:pt x="500920" y="63722"/>
                </a:lnTo>
                <a:lnTo>
                  <a:pt x="546164" y="63722"/>
                </a:lnTo>
                <a:lnTo>
                  <a:pt x="546164" y="87154"/>
                </a:lnTo>
                <a:cubicBezTo>
                  <a:pt x="552069" y="76295"/>
                  <a:pt x="566166" y="56769"/>
                  <a:pt x="605885" y="56769"/>
                </a:cubicBezTo>
                <a:close/>
                <a:moveTo>
                  <a:pt x="0" y="21622"/>
                </a:moveTo>
                <a:lnTo>
                  <a:pt x="47339" y="21622"/>
                </a:lnTo>
                <a:lnTo>
                  <a:pt x="186214" y="185166"/>
                </a:lnTo>
                <a:lnTo>
                  <a:pt x="186214" y="21622"/>
                </a:lnTo>
                <a:lnTo>
                  <a:pt x="233077" y="21622"/>
                </a:lnTo>
                <a:lnTo>
                  <a:pt x="232982" y="266700"/>
                </a:lnTo>
                <a:lnTo>
                  <a:pt x="189548" y="266700"/>
                </a:lnTo>
                <a:lnTo>
                  <a:pt x="48959" y="102680"/>
                </a:lnTo>
                <a:lnTo>
                  <a:pt x="48959" y="266414"/>
                </a:lnTo>
                <a:lnTo>
                  <a:pt x="0" y="266414"/>
                </a:lnTo>
                <a:close/>
                <a:moveTo>
                  <a:pt x="780098" y="0"/>
                </a:moveTo>
                <a:lnTo>
                  <a:pt x="823722" y="0"/>
                </a:lnTo>
                <a:lnTo>
                  <a:pt x="823722" y="161449"/>
                </a:lnTo>
                <a:cubicBezTo>
                  <a:pt x="823722" y="162115"/>
                  <a:pt x="823722" y="162782"/>
                  <a:pt x="823722" y="163449"/>
                </a:cubicBezTo>
                <a:cubicBezTo>
                  <a:pt x="823722" y="164116"/>
                  <a:pt x="823722" y="164783"/>
                  <a:pt x="823722" y="165449"/>
                </a:cubicBezTo>
                <a:lnTo>
                  <a:pt x="823722" y="266795"/>
                </a:lnTo>
                <a:cubicBezTo>
                  <a:pt x="823722" y="266795"/>
                  <a:pt x="782765" y="266795"/>
                  <a:pt x="782765" y="266795"/>
                </a:cubicBezTo>
                <a:lnTo>
                  <a:pt x="782765" y="239649"/>
                </a:lnTo>
                <a:cubicBezTo>
                  <a:pt x="771906" y="258889"/>
                  <a:pt x="740283" y="269748"/>
                  <a:pt x="717519" y="269748"/>
                </a:cubicBezTo>
                <a:cubicBezTo>
                  <a:pt x="656559" y="269748"/>
                  <a:pt x="607600" y="218408"/>
                  <a:pt x="611505" y="156591"/>
                </a:cubicBezTo>
                <a:cubicBezTo>
                  <a:pt x="614839" y="104299"/>
                  <a:pt x="656940" y="61722"/>
                  <a:pt x="709232" y="57531"/>
                </a:cubicBezTo>
                <a:cubicBezTo>
                  <a:pt x="737235" y="55245"/>
                  <a:pt x="769716" y="66104"/>
                  <a:pt x="780098" y="79819"/>
                </a:cubicBezTo>
                <a:close/>
              </a:path>
            </a:pathLst>
          </a:custGeom>
          <a:solidFill>
            <a:srgbClr val="0000A0"/>
          </a:soli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323288939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endParaRPr lang="en-GB" dirty="0"/>
          </a:p>
        </p:txBody>
      </p:sp>
      <p:sp>
        <p:nvSpPr>
          <p:cNvPr id="4" name="Content Placeholder 3"/>
          <p:cNvSpPr>
            <a:spLocks noGrp="1"/>
          </p:cNvSpPr>
          <p:nvPr>
            <p:ph sz="half" idx="2"/>
          </p:nvPr>
        </p:nvSpPr>
        <p:spPr>
          <a:xfrm>
            <a:off x="6192000" y="1332000"/>
            <a:ext cx="5364000" cy="44316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48000" y="1332000"/>
            <a:ext cx="5364000" cy="4428000"/>
          </a:xfrm>
          <a:solidFill>
            <a:schemeClr val="bg1">
              <a:lumMod val="95000"/>
            </a:schemeClr>
          </a:solidFill>
        </p:spPr>
        <p:txBody>
          <a:bodyPr anchor="ctr" anchorCtr="0"/>
          <a:lstStyle>
            <a:lvl1pPr marL="0" indent="0" algn="ctr">
              <a:buFontTx/>
              <a:buNone/>
              <a:defRPr/>
            </a:lvl1pPr>
          </a:lstStyle>
          <a:p>
            <a:r>
              <a:rPr lang="en-GB"/>
              <a:t>Insert image by clicking on placeholder + Images button</a:t>
            </a:r>
            <a:endParaRPr lang="en-GB" dirty="0"/>
          </a:p>
        </p:txBody>
      </p:sp>
      <p:sp>
        <p:nvSpPr>
          <p:cNvPr id="6" name="Footer Placeholder 5"/>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4186940792"/>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a:t>Click to edit Master title style</a:t>
            </a:r>
            <a:endParaRPr lang="en-GB" dirty="0"/>
          </a:p>
        </p:txBody>
      </p:sp>
      <p:sp>
        <p:nvSpPr>
          <p:cNvPr id="4" name="Content Placeholder 3"/>
          <p:cNvSpPr>
            <a:spLocks noGrp="1"/>
          </p:cNvSpPr>
          <p:nvPr>
            <p:ph sz="half" idx="2"/>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192000" y="1332000"/>
            <a:ext cx="5364000" cy="4428000"/>
          </a:xfrm>
          <a:solidFill>
            <a:schemeClr val="bg1">
              <a:lumMod val="95000"/>
            </a:schemeClr>
          </a:solidFill>
        </p:spPr>
        <p:txBody>
          <a:bodyPr anchor="ctr" anchorCtr="0"/>
          <a:lstStyle>
            <a:lvl1pPr marL="0" indent="0" algn="ctr">
              <a:buFontTx/>
              <a:buNone/>
              <a:defRPr/>
            </a:lvl1pPr>
          </a:lstStyle>
          <a:p>
            <a:r>
              <a:rPr lang="en-GB"/>
              <a:t>Insert image by using Nordea Image Bank button</a:t>
            </a:r>
            <a:endParaRPr lang="en-GB" dirty="0"/>
          </a:p>
        </p:txBody>
      </p:sp>
      <p:sp>
        <p:nvSpPr>
          <p:cNvPr id="3" name="Footer Placeholder 2"/>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849876918"/>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ulse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648000" y="1339200"/>
            <a:ext cx="5436000" cy="2473200"/>
          </a:xfrm>
        </p:spPr>
        <p:txBody>
          <a:bodyPr>
            <a:noAutofit/>
          </a:bodyPr>
          <a:lstStyle>
            <a:lvl1pPr>
              <a:defRPr sz="4000">
                <a:solidFill>
                  <a:schemeClr val="accent4"/>
                </a:solidFill>
              </a:defRPr>
            </a:lvl1pPr>
          </a:lstStyle>
          <a:p>
            <a:r>
              <a:rPr lang="en-GB"/>
              <a:t>Click to edit Master title style</a:t>
            </a:r>
            <a:endParaRPr lang="en-GB" dirty="0"/>
          </a:p>
        </p:txBody>
      </p:sp>
      <p:sp>
        <p:nvSpPr>
          <p:cNvPr id="3" name="Subtitle 2"/>
          <p:cNvSpPr>
            <a:spLocks noGrp="1"/>
          </p:cNvSpPr>
          <p:nvPr userDrawn="1">
            <p:ph type="subTitle" idx="1"/>
          </p:nvPr>
        </p:nvSpPr>
        <p:spPr>
          <a:xfrm>
            <a:off x="648000" y="4294800"/>
            <a:ext cx="5436000" cy="360083"/>
          </a:xfrm>
        </p:spPr>
        <p:txBody>
          <a:bodyPr>
            <a:noAutofit/>
          </a:bodyPr>
          <a:lstStyle>
            <a:lvl1pPr marL="0" indent="0" algn="l">
              <a:buNone/>
              <a:defRPr sz="1800" b="1">
                <a:solidFill>
                  <a:schemeClr val="bg1"/>
                </a:solidFill>
                <a:latin typeface="+mj-lt"/>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21" name="Text Placeholder 20"/>
          <p:cNvSpPr>
            <a:spLocks noGrp="1"/>
          </p:cNvSpPr>
          <p:nvPr userDrawn="1">
            <p:ph type="body" sz="quarter" idx="13" hasCustomPrompt="1"/>
          </p:nvPr>
        </p:nvSpPr>
        <p:spPr>
          <a:xfrm>
            <a:off x="648000" y="4773600"/>
            <a:ext cx="5436000" cy="216000"/>
          </a:xfrm>
        </p:spPr>
        <p:txBody>
          <a:bodyPr>
            <a:noAutofit/>
          </a:bodyPr>
          <a:lstStyle>
            <a:lvl1pPr marL="0" indent="0">
              <a:buNone/>
              <a:defRPr sz="1400">
                <a:solidFill>
                  <a:schemeClr val="bg1"/>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endParaRPr lang="en-GB" dirty="0"/>
          </a:p>
        </p:txBody>
      </p:sp>
      <p:sp>
        <p:nvSpPr>
          <p:cNvPr id="22" name="Text Placeholder 20"/>
          <p:cNvSpPr>
            <a:spLocks noGrp="1"/>
          </p:cNvSpPr>
          <p:nvPr userDrawn="1">
            <p:ph type="body" sz="quarter" idx="14" hasCustomPrompt="1"/>
          </p:nvPr>
        </p:nvSpPr>
        <p:spPr>
          <a:xfrm>
            <a:off x="648000" y="5025600"/>
            <a:ext cx="5436000" cy="216000"/>
          </a:xfrm>
        </p:spPr>
        <p:txBody>
          <a:bodyPr>
            <a:noAutofit/>
          </a:bodyPr>
          <a:lstStyle>
            <a:lvl1pPr marL="0" indent="0">
              <a:buNone/>
              <a:defRPr sz="1400">
                <a:solidFill>
                  <a:schemeClr val="bg1"/>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endParaRPr lang="en-GB" dirty="0"/>
          </a:p>
        </p:txBody>
      </p:sp>
      <p:sp>
        <p:nvSpPr>
          <p:cNvPr id="31" name="Picture Placeholder 30">
            <a:extLst>
              <a:ext uri="{FF2B5EF4-FFF2-40B4-BE49-F238E27FC236}">
                <a16:creationId xmlns:a16="http://schemas.microsoft.com/office/drawing/2014/main" id="{26425AB6-E925-98AD-F161-922D2FCEC4B1}"/>
              </a:ext>
            </a:extLst>
          </p:cNvPr>
          <p:cNvSpPr>
            <a:spLocks noGrp="1"/>
          </p:cNvSpPr>
          <p:nvPr userDrawn="1">
            <p:ph type="pic" sz="quarter" idx="16" hasCustomPrompt="1"/>
          </p:nvPr>
        </p:nvSpPr>
        <p:spPr>
          <a:xfrm>
            <a:off x="6964845" y="941098"/>
            <a:ext cx="5232032" cy="5299513"/>
          </a:xfrm>
          <a:custGeom>
            <a:avLst/>
            <a:gdLst>
              <a:gd name="connsiteX0" fmla="*/ 5232032 w 5232032"/>
              <a:gd name="connsiteY0" fmla="*/ 2308746 h 5299513"/>
              <a:gd name="connsiteX1" fmla="*/ 5232032 w 5232032"/>
              <a:gd name="connsiteY1" fmla="*/ 2990767 h 5299513"/>
              <a:gd name="connsiteX2" fmla="*/ 5019955 w 5232032"/>
              <a:gd name="connsiteY2" fmla="*/ 2784240 h 5299513"/>
              <a:gd name="connsiteX3" fmla="*/ 5019955 w 5232032"/>
              <a:gd name="connsiteY3" fmla="*/ 2510471 h 5299513"/>
              <a:gd name="connsiteX4" fmla="*/ 5232032 w 5232032"/>
              <a:gd name="connsiteY4" fmla="*/ 2308746 h 5299513"/>
              <a:gd name="connsiteX5" fmla="*/ 201232 w 5232032"/>
              <a:gd name="connsiteY5" fmla="*/ 2308746 h 5299513"/>
              <a:gd name="connsiteX6" fmla="*/ 402465 w 5232032"/>
              <a:gd name="connsiteY6" fmla="*/ 2510471 h 5299513"/>
              <a:gd name="connsiteX7" fmla="*/ 402465 w 5232032"/>
              <a:gd name="connsiteY7" fmla="*/ 2784240 h 5299513"/>
              <a:gd name="connsiteX8" fmla="*/ 201232 w 5232032"/>
              <a:gd name="connsiteY8" fmla="*/ 2990767 h 5299513"/>
              <a:gd name="connsiteX9" fmla="*/ 0 w 5232032"/>
              <a:gd name="connsiteY9" fmla="*/ 2784240 h 5299513"/>
              <a:gd name="connsiteX10" fmla="*/ 0 w 5232032"/>
              <a:gd name="connsiteY10" fmla="*/ 2510471 h 5299513"/>
              <a:gd name="connsiteX11" fmla="*/ 201232 w 5232032"/>
              <a:gd name="connsiteY11" fmla="*/ 2308746 h 5299513"/>
              <a:gd name="connsiteX12" fmla="*/ 4416260 w 5232032"/>
              <a:gd name="connsiteY12" fmla="*/ 2275007 h 5299513"/>
              <a:gd name="connsiteX13" fmla="*/ 4757270 w 5232032"/>
              <a:gd name="connsiteY13" fmla="*/ 2615289 h 5299513"/>
              <a:gd name="connsiteX14" fmla="*/ 4757270 w 5232032"/>
              <a:gd name="connsiteY14" fmla="*/ 3631341 h 5299513"/>
              <a:gd name="connsiteX15" fmla="*/ 4416260 w 5232032"/>
              <a:gd name="connsiteY15" fmla="*/ 3971622 h 5299513"/>
              <a:gd name="connsiteX16" fmla="*/ 4075249 w 5232032"/>
              <a:gd name="connsiteY16" fmla="*/ 3631341 h 5299513"/>
              <a:gd name="connsiteX17" fmla="*/ 4075249 w 5232032"/>
              <a:gd name="connsiteY17" fmla="*/ 2615289 h 5299513"/>
              <a:gd name="connsiteX18" fmla="*/ 4416260 w 5232032"/>
              <a:gd name="connsiteY18" fmla="*/ 2275007 h 5299513"/>
              <a:gd name="connsiteX19" fmla="*/ 3308894 w 5232032"/>
              <a:gd name="connsiteY19" fmla="*/ 1494178 h 5299513"/>
              <a:gd name="connsiteX20" fmla="*/ 3735444 w 5232032"/>
              <a:gd name="connsiteY20" fmla="*/ 1915928 h 5299513"/>
              <a:gd name="connsiteX21" fmla="*/ 3735444 w 5232032"/>
              <a:gd name="connsiteY21" fmla="*/ 4872971 h 5299513"/>
              <a:gd name="connsiteX22" fmla="*/ 3308894 w 5232032"/>
              <a:gd name="connsiteY22" fmla="*/ 5299513 h 5299513"/>
              <a:gd name="connsiteX23" fmla="*/ 2887137 w 5232032"/>
              <a:gd name="connsiteY23" fmla="*/ 4872971 h 5299513"/>
              <a:gd name="connsiteX24" fmla="*/ 2887137 w 5232032"/>
              <a:gd name="connsiteY24" fmla="*/ 1915928 h 5299513"/>
              <a:gd name="connsiteX25" fmla="*/ 3308894 w 5232032"/>
              <a:gd name="connsiteY25" fmla="*/ 1494178 h 5299513"/>
              <a:gd name="connsiteX26" fmla="*/ 1015801 w 5232032"/>
              <a:gd name="connsiteY26" fmla="*/ 1323071 h 5299513"/>
              <a:gd name="connsiteX27" fmla="*/ 1356811 w 5232032"/>
              <a:gd name="connsiteY27" fmla="*/ 1663358 h 5299513"/>
              <a:gd name="connsiteX28" fmla="*/ 1356811 w 5232032"/>
              <a:gd name="connsiteY28" fmla="*/ 2684219 h 5299513"/>
              <a:gd name="connsiteX29" fmla="*/ 1015801 w 5232032"/>
              <a:gd name="connsiteY29" fmla="*/ 3024506 h 5299513"/>
              <a:gd name="connsiteX30" fmla="*/ 674790 w 5232032"/>
              <a:gd name="connsiteY30" fmla="*/ 2684219 h 5299513"/>
              <a:gd name="connsiteX31" fmla="*/ 674790 w 5232032"/>
              <a:gd name="connsiteY31" fmla="*/ 1663358 h 5299513"/>
              <a:gd name="connsiteX32" fmla="*/ 1015801 w 5232032"/>
              <a:gd name="connsiteY32" fmla="*/ 1323071 h 5299513"/>
              <a:gd name="connsiteX33" fmla="*/ 2119571 w 5232032"/>
              <a:gd name="connsiteY33" fmla="*/ 0 h 5299513"/>
              <a:gd name="connsiteX34" fmla="*/ 2547333 w 5232032"/>
              <a:gd name="connsiteY34" fmla="*/ 426543 h 5299513"/>
              <a:gd name="connsiteX35" fmla="*/ 2547333 w 5232032"/>
              <a:gd name="connsiteY35" fmla="*/ 3378793 h 5299513"/>
              <a:gd name="connsiteX36" fmla="*/ 2119571 w 5232032"/>
              <a:gd name="connsiteY36" fmla="*/ 3805335 h 5299513"/>
              <a:gd name="connsiteX37" fmla="*/ 1696615 w 5232032"/>
              <a:gd name="connsiteY37" fmla="*/ 3378793 h 5299513"/>
              <a:gd name="connsiteX38" fmla="*/ 1696615 w 5232032"/>
              <a:gd name="connsiteY38" fmla="*/ 426543 h 5299513"/>
              <a:gd name="connsiteX39" fmla="*/ 2119571 w 5232032"/>
              <a:gd name="connsiteY39" fmla="*/ 0 h 5299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232032" h="5299513">
                <a:moveTo>
                  <a:pt x="5232032" y="2308746"/>
                </a:moveTo>
                <a:lnTo>
                  <a:pt x="5232032" y="2990767"/>
                </a:lnTo>
                <a:cubicBezTo>
                  <a:pt x="5116354" y="2990767"/>
                  <a:pt x="5019955" y="2899511"/>
                  <a:pt x="5019955" y="2784240"/>
                </a:cubicBezTo>
                <a:cubicBezTo>
                  <a:pt x="5019955" y="2784240"/>
                  <a:pt x="5019955" y="2784240"/>
                  <a:pt x="5019955" y="2510471"/>
                </a:cubicBezTo>
                <a:cubicBezTo>
                  <a:pt x="5019955" y="2400002"/>
                  <a:pt x="5116354" y="2308746"/>
                  <a:pt x="5232032" y="2308746"/>
                </a:cubicBezTo>
                <a:close/>
                <a:moveTo>
                  <a:pt x="201232" y="2308746"/>
                </a:moveTo>
                <a:cubicBezTo>
                  <a:pt x="311431" y="2308746"/>
                  <a:pt x="402465" y="2400002"/>
                  <a:pt x="402465" y="2510471"/>
                </a:cubicBezTo>
                <a:cubicBezTo>
                  <a:pt x="402465" y="2784240"/>
                  <a:pt x="402465" y="2784240"/>
                  <a:pt x="402465" y="2784240"/>
                </a:cubicBezTo>
                <a:cubicBezTo>
                  <a:pt x="402465" y="2899511"/>
                  <a:pt x="311431" y="2990767"/>
                  <a:pt x="201232" y="2990767"/>
                </a:cubicBezTo>
                <a:cubicBezTo>
                  <a:pt x="86242" y="2990767"/>
                  <a:pt x="0" y="2899511"/>
                  <a:pt x="0" y="2784240"/>
                </a:cubicBezTo>
                <a:cubicBezTo>
                  <a:pt x="0" y="2510471"/>
                  <a:pt x="0" y="2510471"/>
                  <a:pt x="0" y="2510471"/>
                </a:cubicBezTo>
                <a:cubicBezTo>
                  <a:pt x="0" y="2400002"/>
                  <a:pt x="86242" y="2308746"/>
                  <a:pt x="201232" y="2308746"/>
                </a:cubicBezTo>
                <a:close/>
                <a:moveTo>
                  <a:pt x="4416260" y="2275007"/>
                </a:moveTo>
                <a:cubicBezTo>
                  <a:pt x="4603575" y="2275007"/>
                  <a:pt x="4757270" y="2428373"/>
                  <a:pt x="4757270" y="2615289"/>
                </a:cubicBezTo>
                <a:cubicBezTo>
                  <a:pt x="4757270" y="3631341"/>
                  <a:pt x="4757270" y="3631341"/>
                  <a:pt x="4757270" y="3631341"/>
                </a:cubicBezTo>
                <a:cubicBezTo>
                  <a:pt x="4757270" y="3818256"/>
                  <a:pt x="4603575" y="3971622"/>
                  <a:pt x="4416260" y="3971622"/>
                </a:cubicBezTo>
                <a:cubicBezTo>
                  <a:pt x="4228944" y="3971622"/>
                  <a:pt x="4075249" y="3818256"/>
                  <a:pt x="4075249" y="3631341"/>
                </a:cubicBezTo>
                <a:cubicBezTo>
                  <a:pt x="4075249" y="2615289"/>
                  <a:pt x="4075249" y="2615289"/>
                  <a:pt x="4075249" y="2615289"/>
                </a:cubicBezTo>
                <a:cubicBezTo>
                  <a:pt x="4075249" y="2428373"/>
                  <a:pt x="4228944" y="2275007"/>
                  <a:pt x="4416260" y="2275007"/>
                </a:cubicBezTo>
                <a:close/>
                <a:moveTo>
                  <a:pt x="3308894" y="1494178"/>
                </a:moveTo>
                <a:cubicBezTo>
                  <a:pt x="3543736" y="1494178"/>
                  <a:pt x="3735444" y="1685883"/>
                  <a:pt x="3735444" y="1915928"/>
                </a:cubicBezTo>
                <a:cubicBezTo>
                  <a:pt x="3735444" y="4872971"/>
                  <a:pt x="3735444" y="4872971"/>
                  <a:pt x="3735444" y="4872971"/>
                </a:cubicBezTo>
                <a:cubicBezTo>
                  <a:pt x="3735444" y="5107809"/>
                  <a:pt x="3543736" y="5299513"/>
                  <a:pt x="3308894" y="5299513"/>
                </a:cubicBezTo>
                <a:cubicBezTo>
                  <a:pt x="3078845" y="5299513"/>
                  <a:pt x="2887137" y="5107809"/>
                  <a:pt x="2887137" y="4872971"/>
                </a:cubicBezTo>
                <a:cubicBezTo>
                  <a:pt x="2887137" y="1915928"/>
                  <a:pt x="2887137" y="1915928"/>
                  <a:pt x="2887137" y="1915928"/>
                </a:cubicBezTo>
                <a:cubicBezTo>
                  <a:pt x="2887137" y="1685883"/>
                  <a:pt x="3078845" y="1494178"/>
                  <a:pt x="3308894" y="1494178"/>
                </a:cubicBezTo>
                <a:close/>
                <a:moveTo>
                  <a:pt x="1015801" y="1323071"/>
                </a:moveTo>
                <a:cubicBezTo>
                  <a:pt x="1203116" y="1323071"/>
                  <a:pt x="1356811" y="1476440"/>
                  <a:pt x="1356811" y="1663358"/>
                </a:cubicBezTo>
                <a:cubicBezTo>
                  <a:pt x="1356811" y="2684219"/>
                  <a:pt x="1356811" y="2684219"/>
                  <a:pt x="1356811" y="2684219"/>
                </a:cubicBezTo>
                <a:cubicBezTo>
                  <a:pt x="1356811" y="2871137"/>
                  <a:pt x="1203116" y="3024506"/>
                  <a:pt x="1015801" y="3024506"/>
                </a:cubicBezTo>
                <a:cubicBezTo>
                  <a:pt x="828485" y="3024506"/>
                  <a:pt x="674790" y="2871137"/>
                  <a:pt x="674790" y="2684219"/>
                </a:cubicBezTo>
                <a:cubicBezTo>
                  <a:pt x="674790" y="1663358"/>
                  <a:pt x="674790" y="1663358"/>
                  <a:pt x="674790" y="1663358"/>
                </a:cubicBezTo>
                <a:cubicBezTo>
                  <a:pt x="674790" y="1476440"/>
                  <a:pt x="828485" y="1323071"/>
                  <a:pt x="1015801" y="1323071"/>
                </a:cubicBezTo>
                <a:close/>
                <a:moveTo>
                  <a:pt x="2119571" y="0"/>
                </a:moveTo>
                <a:cubicBezTo>
                  <a:pt x="2355080" y="0"/>
                  <a:pt x="2547333" y="191705"/>
                  <a:pt x="2547333" y="426543"/>
                </a:cubicBezTo>
                <a:cubicBezTo>
                  <a:pt x="2547333" y="3378793"/>
                  <a:pt x="2547333" y="3378793"/>
                  <a:pt x="2547333" y="3378793"/>
                </a:cubicBezTo>
                <a:cubicBezTo>
                  <a:pt x="2547333" y="3613631"/>
                  <a:pt x="2355080" y="3805335"/>
                  <a:pt x="2119571" y="3805335"/>
                </a:cubicBezTo>
                <a:cubicBezTo>
                  <a:pt x="1888868" y="3805335"/>
                  <a:pt x="1696615" y="3613631"/>
                  <a:pt x="1696615" y="3378793"/>
                </a:cubicBezTo>
                <a:cubicBezTo>
                  <a:pt x="1696615" y="426543"/>
                  <a:pt x="1696615" y="426543"/>
                  <a:pt x="1696615" y="426543"/>
                </a:cubicBezTo>
                <a:cubicBezTo>
                  <a:pt x="1696615" y="191705"/>
                  <a:pt x="1888868" y="0"/>
                  <a:pt x="2119571" y="0"/>
                </a:cubicBezTo>
                <a:close/>
              </a:path>
            </a:pathLst>
          </a:custGeom>
          <a:solidFill>
            <a:schemeClr val="bg2"/>
          </a:solidFill>
        </p:spPr>
        <p:txBody>
          <a:bodyPr wrap="square" anchor="ctr" anchorCtr="0">
            <a:noAutofit/>
          </a:bodyPr>
          <a:lstStyle>
            <a:lvl1pPr marL="0" indent="0" algn="ctr">
              <a:buNone/>
              <a:defRPr>
                <a:solidFill>
                  <a:schemeClr val="bg1"/>
                </a:solidFill>
              </a:defRPr>
            </a:lvl1pPr>
          </a:lstStyle>
          <a:p>
            <a:r>
              <a:rPr lang="en-GB"/>
              <a:t>Insert image by clicking on placeholder + Images button</a:t>
            </a:r>
            <a:endParaRPr lang="en-GB" dirty="0"/>
          </a:p>
        </p:txBody>
      </p:sp>
      <p:sp>
        <p:nvSpPr>
          <p:cNvPr id="5" name="Logotype">
            <a:extLst>
              <a:ext uri="{FF2B5EF4-FFF2-40B4-BE49-F238E27FC236}">
                <a16:creationId xmlns:a16="http://schemas.microsoft.com/office/drawing/2014/main" id="{02C27998-93A5-61D8-9017-E05F946896C7}"/>
              </a:ext>
            </a:extLst>
          </p:cNvPr>
          <p:cNvSpPr>
            <a:spLocks noChangeAspect="1"/>
          </p:cNvSpPr>
          <p:nvPr userDrawn="1"/>
        </p:nvSpPr>
        <p:spPr>
          <a:xfrm>
            <a:off x="641350" y="530890"/>
            <a:ext cx="1386000" cy="288857"/>
          </a:xfrm>
          <a:custGeom>
            <a:avLst/>
            <a:gdLst>
              <a:gd name="connsiteX0" fmla="*/ 1189292 w 1295686"/>
              <a:gd name="connsiteY0" fmla="*/ 102299 h 270035"/>
              <a:gd name="connsiteX1" fmla="*/ 1128522 w 1295686"/>
              <a:gd name="connsiteY1" fmla="*/ 170593 h 270035"/>
              <a:gd name="connsiteX2" fmla="*/ 1181576 w 1295686"/>
              <a:gd name="connsiteY2" fmla="*/ 224219 h 270035"/>
              <a:gd name="connsiteX3" fmla="*/ 1250537 w 1295686"/>
              <a:gd name="connsiteY3" fmla="*/ 166688 h 270035"/>
              <a:gd name="connsiteX4" fmla="*/ 1250442 w 1295686"/>
              <a:gd name="connsiteY4" fmla="*/ 166688 h 270035"/>
              <a:gd name="connsiteX5" fmla="*/ 1250442 w 1295686"/>
              <a:gd name="connsiteY5" fmla="*/ 160306 h 270035"/>
              <a:gd name="connsiteX6" fmla="*/ 1189292 w 1295686"/>
              <a:gd name="connsiteY6" fmla="*/ 102299 h 270035"/>
              <a:gd name="connsiteX7" fmla="*/ 717519 w 1295686"/>
              <a:gd name="connsiteY7" fmla="*/ 102299 h 270035"/>
              <a:gd name="connsiteX8" fmla="*/ 656749 w 1295686"/>
              <a:gd name="connsiteY8" fmla="*/ 170593 h 270035"/>
              <a:gd name="connsiteX9" fmla="*/ 709803 w 1295686"/>
              <a:gd name="connsiteY9" fmla="*/ 224218 h 270035"/>
              <a:gd name="connsiteX10" fmla="*/ 778764 w 1295686"/>
              <a:gd name="connsiteY10" fmla="*/ 166687 h 270035"/>
              <a:gd name="connsiteX11" fmla="*/ 778669 w 1295686"/>
              <a:gd name="connsiteY11" fmla="*/ 166687 h 270035"/>
              <a:gd name="connsiteX12" fmla="*/ 778669 w 1295686"/>
              <a:gd name="connsiteY12" fmla="*/ 160306 h 270035"/>
              <a:gd name="connsiteX13" fmla="*/ 717519 w 1295686"/>
              <a:gd name="connsiteY13" fmla="*/ 102299 h 270035"/>
              <a:gd name="connsiteX14" fmla="*/ 366808 w 1295686"/>
              <a:gd name="connsiteY14" fmla="*/ 102299 h 270035"/>
              <a:gd name="connsiteX15" fmla="*/ 305657 w 1295686"/>
              <a:gd name="connsiteY15" fmla="*/ 163449 h 270035"/>
              <a:gd name="connsiteX16" fmla="*/ 366808 w 1295686"/>
              <a:gd name="connsiteY16" fmla="*/ 224600 h 270035"/>
              <a:gd name="connsiteX17" fmla="*/ 427958 w 1295686"/>
              <a:gd name="connsiteY17" fmla="*/ 163449 h 270035"/>
              <a:gd name="connsiteX18" fmla="*/ 366808 w 1295686"/>
              <a:gd name="connsiteY18" fmla="*/ 102299 h 270035"/>
              <a:gd name="connsiteX19" fmla="*/ 962039 w 1295686"/>
              <a:gd name="connsiteY19" fmla="*/ 96385 h 270035"/>
              <a:gd name="connsiteX20" fmla="*/ 938499 w 1295686"/>
              <a:gd name="connsiteY20" fmla="*/ 100585 h 270035"/>
              <a:gd name="connsiteX21" fmla="*/ 896779 w 1295686"/>
              <a:gd name="connsiteY21" fmla="*/ 159068 h 270035"/>
              <a:gd name="connsiteX22" fmla="*/ 896779 w 1295686"/>
              <a:gd name="connsiteY22" fmla="*/ 159164 h 270035"/>
              <a:gd name="connsiteX23" fmla="*/ 1011746 w 1295686"/>
              <a:gd name="connsiteY23" fmla="*/ 127541 h 270035"/>
              <a:gd name="connsiteX24" fmla="*/ 962039 w 1295686"/>
              <a:gd name="connsiteY24" fmla="*/ 96385 h 270035"/>
              <a:gd name="connsiteX25" fmla="*/ 1181005 w 1295686"/>
              <a:gd name="connsiteY25" fmla="*/ 57436 h 270035"/>
              <a:gd name="connsiteX26" fmla="*/ 1295686 w 1295686"/>
              <a:gd name="connsiteY26" fmla="*/ 165354 h 270035"/>
              <a:gd name="connsiteX27" fmla="*/ 1295686 w 1295686"/>
              <a:gd name="connsiteY27" fmla="*/ 266700 h 270035"/>
              <a:gd name="connsiteX28" fmla="*/ 1254538 w 1295686"/>
              <a:gd name="connsiteY28" fmla="*/ 266700 h 270035"/>
              <a:gd name="connsiteX29" fmla="*/ 1254538 w 1295686"/>
              <a:gd name="connsiteY29" fmla="*/ 235458 h 270035"/>
              <a:gd name="connsiteX30" fmla="*/ 1189292 w 1295686"/>
              <a:gd name="connsiteY30" fmla="*/ 269558 h 270035"/>
              <a:gd name="connsiteX31" fmla="*/ 1083278 w 1295686"/>
              <a:gd name="connsiteY31" fmla="*/ 156591 h 270035"/>
              <a:gd name="connsiteX32" fmla="*/ 1181005 w 1295686"/>
              <a:gd name="connsiteY32" fmla="*/ 57531 h 270035"/>
              <a:gd name="connsiteX33" fmla="*/ 956311 w 1295686"/>
              <a:gd name="connsiteY33" fmla="*/ 57246 h 270035"/>
              <a:gd name="connsiteX34" fmla="*/ 956311 w 1295686"/>
              <a:gd name="connsiteY34" fmla="*/ 57341 h 270035"/>
              <a:gd name="connsiteX35" fmla="*/ 1064134 w 1295686"/>
              <a:gd name="connsiteY35" fmla="*/ 151924 h 270035"/>
              <a:gd name="connsiteX36" fmla="*/ 904876 w 1295686"/>
              <a:gd name="connsiteY36" fmla="*/ 195359 h 270035"/>
              <a:gd name="connsiteX37" fmla="*/ 970503 w 1295686"/>
              <a:gd name="connsiteY37" fmla="*/ 227172 h 270035"/>
              <a:gd name="connsiteX38" fmla="*/ 1016413 w 1295686"/>
              <a:gd name="connsiteY38" fmla="*/ 191930 h 270035"/>
              <a:gd name="connsiteX39" fmla="*/ 1057371 w 1295686"/>
              <a:gd name="connsiteY39" fmla="*/ 204121 h 270035"/>
              <a:gd name="connsiteX40" fmla="*/ 958787 w 1295686"/>
              <a:gd name="connsiteY40" fmla="*/ 270035 h 270035"/>
              <a:gd name="connsiteX41" fmla="*/ 852488 w 1295686"/>
              <a:gd name="connsiteY41" fmla="*/ 164593 h 270035"/>
              <a:gd name="connsiteX42" fmla="*/ 956311 w 1295686"/>
              <a:gd name="connsiteY42" fmla="*/ 57246 h 270035"/>
              <a:gd name="connsiteX43" fmla="*/ 366903 w 1295686"/>
              <a:gd name="connsiteY43" fmla="*/ 57055 h 270035"/>
              <a:gd name="connsiteX44" fmla="*/ 473298 w 1295686"/>
              <a:gd name="connsiteY44" fmla="*/ 163449 h 270035"/>
              <a:gd name="connsiteX45" fmla="*/ 366903 w 1295686"/>
              <a:gd name="connsiteY45" fmla="*/ 269844 h 270035"/>
              <a:gd name="connsiteX46" fmla="*/ 260509 w 1295686"/>
              <a:gd name="connsiteY46" fmla="*/ 163449 h 270035"/>
              <a:gd name="connsiteX47" fmla="*/ 366903 w 1295686"/>
              <a:gd name="connsiteY47" fmla="*/ 57055 h 270035"/>
              <a:gd name="connsiteX48" fmla="*/ 605885 w 1295686"/>
              <a:gd name="connsiteY48" fmla="*/ 56769 h 270035"/>
              <a:gd name="connsiteX49" fmla="*/ 605885 w 1295686"/>
              <a:gd name="connsiteY49" fmla="*/ 100393 h 270035"/>
              <a:gd name="connsiteX50" fmla="*/ 605981 w 1295686"/>
              <a:gd name="connsiteY50" fmla="*/ 100393 h 270035"/>
              <a:gd name="connsiteX51" fmla="*/ 547307 w 1295686"/>
              <a:gd name="connsiteY51" fmla="*/ 167164 h 270035"/>
              <a:gd name="connsiteX52" fmla="*/ 547402 w 1295686"/>
              <a:gd name="connsiteY52" fmla="*/ 266795 h 270035"/>
              <a:gd name="connsiteX53" fmla="*/ 500920 w 1295686"/>
              <a:gd name="connsiteY53" fmla="*/ 266795 h 270035"/>
              <a:gd name="connsiteX54" fmla="*/ 500920 w 1295686"/>
              <a:gd name="connsiteY54" fmla="*/ 63722 h 270035"/>
              <a:gd name="connsiteX55" fmla="*/ 546164 w 1295686"/>
              <a:gd name="connsiteY55" fmla="*/ 63722 h 270035"/>
              <a:gd name="connsiteX56" fmla="*/ 546164 w 1295686"/>
              <a:gd name="connsiteY56" fmla="*/ 87154 h 270035"/>
              <a:gd name="connsiteX57" fmla="*/ 605885 w 1295686"/>
              <a:gd name="connsiteY57" fmla="*/ 56769 h 270035"/>
              <a:gd name="connsiteX58" fmla="*/ 0 w 1295686"/>
              <a:gd name="connsiteY58" fmla="*/ 21622 h 270035"/>
              <a:gd name="connsiteX59" fmla="*/ 47339 w 1295686"/>
              <a:gd name="connsiteY59" fmla="*/ 21622 h 270035"/>
              <a:gd name="connsiteX60" fmla="*/ 186214 w 1295686"/>
              <a:gd name="connsiteY60" fmla="*/ 185166 h 270035"/>
              <a:gd name="connsiteX61" fmla="*/ 186214 w 1295686"/>
              <a:gd name="connsiteY61" fmla="*/ 21622 h 270035"/>
              <a:gd name="connsiteX62" fmla="*/ 233077 w 1295686"/>
              <a:gd name="connsiteY62" fmla="*/ 21622 h 270035"/>
              <a:gd name="connsiteX63" fmla="*/ 232982 w 1295686"/>
              <a:gd name="connsiteY63" fmla="*/ 266700 h 270035"/>
              <a:gd name="connsiteX64" fmla="*/ 189548 w 1295686"/>
              <a:gd name="connsiteY64" fmla="*/ 266700 h 270035"/>
              <a:gd name="connsiteX65" fmla="*/ 48959 w 1295686"/>
              <a:gd name="connsiteY65" fmla="*/ 102680 h 270035"/>
              <a:gd name="connsiteX66" fmla="*/ 48959 w 1295686"/>
              <a:gd name="connsiteY66" fmla="*/ 266414 h 270035"/>
              <a:gd name="connsiteX67" fmla="*/ 0 w 1295686"/>
              <a:gd name="connsiteY67" fmla="*/ 266414 h 270035"/>
              <a:gd name="connsiteX68" fmla="*/ 780098 w 1295686"/>
              <a:gd name="connsiteY68" fmla="*/ 0 h 270035"/>
              <a:gd name="connsiteX69" fmla="*/ 823722 w 1295686"/>
              <a:gd name="connsiteY69" fmla="*/ 0 h 270035"/>
              <a:gd name="connsiteX70" fmla="*/ 823722 w 1295686"/>
              <a:gd name="connsiteY70" fmla="*/ 161449 h 270035"/>
              <a:gd name="connsiteX71" fmla="*/ 823722 w 1295686"/>
              <a:gd name="connsiteY71" fmla="*/ 163449 h 270035"/>
              <a:gd name="connsiteX72" fmla="*/ 823722 w 1295686"/>
              <a:gd name="connsiteY72" fmla="*/ 165449 h 270035"/>
              <a:gd name="connsiteX73" fmla="*/ 823722 w 1295686"/>
              <a:gd name="connsiteY73" fmla="*/ 266795 h 270035"/>
              <a:gd name="connsiteX74" fmla="*/ 782765 w 1295686"/>
              <a:gd name="connsiteY74" fmla="*/ 266795 h 270035"/>
              <a:gd name="connsiteX75" fmla="*/ 782765 w 1295686"/>
              <a:gd name="connsiteY75" fmla="*/ 239649 h 270035"/>
              <a:gd name="connsiteX76" fmla="*/ 717519 w 1295686"/>
              <a:gd name="connsiteY76" fmla="*/ 269748 h 270035"/>
              <a:gd name="connsiteX77" fmla="*/ 611505 w 1295686"/>
              <a:gd name="connsiteY77" fmla="*/ 156591 h 270035"/>
              <a:gd name="connsiteX78" fmla="*/ 709232 w 1295686"/>
              <a:gd name="connsiteY78" fmla="*/ 57531 h 270035"/>
              <a:gd name="connsiteX79" fmla="*/ 780098 w 1295686"/>
              <a:gd name="connsiteY79" fmla="*/ 79819 h 27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95686" h="270035">
                <a:moveTo>
                  <a:pt x="1189292" y="102299"/>
                </a:moveTo>
                <a:cubicBezTo>
                  <a:pt x="1153192" y="102299"/>
                  <a:pt x="1124426" y="133636"/>
                  <a:pt x="1128522" y="170593"/>
                </a:cubicBezTo>
                <a:cubicBezTo>
                  <a:pt x="1131665" y="198215"/>
                  <a:pt x="1153859" y="220790"/>
                  <a:pt x="1181576" y="224219"/>
                </a:cubicBezTo>
                <a:cubicBezTo>
                  <a:pt x="1217771" y="228695"/>
                  <a:pt x="1248728" y="201549"/>
                  <a:pt x="1250537" y="166688"/>
                </a:cubicBezTo>
                <a:lnTo>
                  <a:pt x="1250442" y="166688"/>
                </a:lnTo>
                <a:lnTo>
                  <a:pt x="1250442" y="160306"/>
                </a:lnTo>
                <a:cubicBezTo>
                  <a:pt x="1248728" y="128016"/>
                  <a:pt x="1222058" y="102299"/>
                  <a:pt x="1189292" y="102299"/>
                </a:cubicBezTo>
                <a:close/>
                <a:moveTo>
                  <a:pt x="717519" y="102299"/>
                </a:moveTo>
                <a:cubicBezTo>
                  <a:pt x="681419" y="102299"/>
                  <a:pt x="652653" y="133636"/>
                  <a:pt x="656749" y="170593"/>
                </a:cubicBezTo>
                <a:cubicBezTo>
                  <a:pt x="659892" y="198215"/>
                  <a:pt x="682086" y="220789"/>
                  <a:pt x="709803" y="224218"/>
                </a:cubicBezTo>
                <a:cubicBezTo>
                  <a:pt x="745998" y="228695"/>
                  <a:pt x="776955" y="201549"/>
                  <a:pt x="778764" y="166687"/>
                </a:cubicBezTo>
                <a:lnTo>
                  <a:pt x="778669" y="166687"/>
                </a:lnTo>
                <a:lnTo>
                  <a:pt x="778669" y="160306"/>
                </a:lnTo>
                <a:cubicBezTo>
                  <a:pt x="776955" y="128016"/>
                  <a:pt x="750285" y="102299"/>
                  <a:pt x="717519" y="102299"/>
                </a:cubicBezTo>
                <a:close/>
                <a:moveTo>
                  <a:pt x="366808" y="102299"/>
                </a:moveTo>
                <a:cubicBezTo>
                  <a:pt x="333089" y="102299"/>
                  <a:pt x="305657" y="129731"/>
                  <a:pt x="305657" y="163449"/>
                </a:cubicBezTo>
                <a:cubicBezTo>
                  <a:pt x="305657" y="197168"/>
                  <a:pt x="332994" y="224600"/>
                  <a:pt x="366808" y="224600"/>
                </a:cubicBezTo>
                <a:cubicBezTo>
                  <a:pt x="400527" y="224600"/>
                  <a:pt x="427958" y="197168"/>
                  <a:pt x="427958" y="163449"/>
                </a:cubicBezTo>
                <a:cubicBezTo>
                  <a:pt x="427958" y="129731"/>
                  <a:pt x="400527" y="102299"/>
                  <a:pt x="366808" y="102299"/>
                </a:cubicBezTo>
                <a:close/>
                <a:moveTo>
                  <a:pt x="962039" y="96385"/>
                </a:moveTo>
                <a:cubicBezTo>
                  <a:pt x="954578" y="96227"/>
                  <a:pt x="946666" y="97513"/>
                  <a:pt x="938499" y="100585"/>
                </a:cubicBezTo>
                <a:cubicBezTo>
                  <a:pt x="909733" y="111348"/>
                  <a:pt x="896779" y="136875"/>
                  <a:pt x="896779" y="159068"/>
                </a:cubicBezTo>
                <a:lnTo>
                  <a:pt x="896779" y="159164"/>
                </a:lnTo>
                <a:lnTo>
                  <a:pt x="1011746" y="127541"/>
                </a:lnTo>
                <a:cubicBezTo>
                  <a:pt x="1002744" y="110324"/>
                  <a:pt x="984421" y="96858"/>
                  <a:pt x="962039" y="96385"/>
                </a:cubicBezTo>
                <a:close/>
                <a:moveTo>
                  <a:pt x="1181005" y="57436"/>
                </a:moveTo>
                <a:cubicBezTo>
                  <a:pt x="1242060" y="52673"/>
                  <a:pt x="1295686" y="99346"/>
                  <a:pt x="1295686" y="165354"/>
                </a:cubicBezTo>
                <a:lnTo>
                  <a:pt x="1295686" y="266700"/>
                </a:lnTo>
                <a:lnTo>
                  <a:pt x="1254538" y="266700"/>
                </a:lnTo>
                <a:lnTo>
                  <a:pt x="1254538" y="235458"/>
                </a:lnTo>
                <a:cubicBezTo>
                  <a:pt x="1241108" y="258604"/>
                  <a:pt x="1211295" y="269558"/>
                  <a:pt x="1189292" y="269558"/>
                </a:cubicBezTo>
                <a:cubicBezTo>
                  <a:pt x="1128332" y="269558"/>
                  <a:pt x="1079373" y="218408"/>
                  <a:pt x="1083278" y="156591"/>
                </a:cubicBezTo>
                <a:cubicBezTo>
                  <a:pt x="1086612" y="104299"/>
                  <a:pt x="1128236" y="61627"/>
                  <a:pt x="1181005" y="57531"/>
                </a:cubicBezTo>
                <a:close/>
                <a:moveTo>
                  <a:pt x="956311" y="57246"/>
                </a:moveTo>
                <a:lnTo>
                  <a:pt x="956311" y="57341"/>
                </a:lnTo>
                <a:cubicBezTo>
                  <a:pt x="1023557" y="55436"/>
                  <a:pt x="1059466" y="111062"/>
                  <a:pt x="1064134" y="151924"/>
                </a:cubicBezTo>
                <a:lnTo>
                  <a:pt x="904876" y="195359"/>
                </a:lnTo>
                <a:cubicBezTo>
                  <a:pt x="915258" y="214980"/>
                  <a:pt x="941737" y="232506"/>
                  <a:pt x="970503" y="227172"/>
                </a:cubicBezTo>
                <a:cubicBezTo>
                  <a:pt x="991077" y="223267"/>
                  <a:pt x="1008984" y="208693"/>
                  <a:pt x="1016413" y="191930"/>
                </a:cubicBezTo>
                <a:lnTo>
                  <a:pt x="1057371" y="204121"/>
                </a:lnTo>
                <a:cubicBezTo>
                  <a:pt x="1041274" y="244889"/>
                  <a:pt x="1000507" y="270035"/>
                  <a:pt x="958787" y="270035"/>
                </a:cubicBezTo>
                <a:cubicBezTo>
                  <a:pt x="898970" y="270035"/>
                  <a:pt x="852488" y="222029"/>
                  <a:pt x="852488" y="164593"/>
                </a:cubicBezTo>
                <a:cubicBezTo>
                  <a:pt x="852488" y="102299"/>
                  <a:pt x="900494" y="58770"/>
                  <a:pt x="956311" y="57246"/>
                </a:cubicBezTo>
                <a:close/>
                <a:moveTo>
                  <a:pt x="366903" y="57055"/>
                </a:moveTo>
                <a:cubicBezTo>
                  <a:pt x="425673" y="57055"/>
                  <a:pt x="473298" y="104680"/>
                  <a:pt x="473298" y="163449"/>
                </a:cubicBezTo>
                <a:cubicBezTo>
                  <a:pt x="473298" y="222219"/>
                  <a:pt x="425673" y="269844"/>
                  <a:pt x="366903" y="269844"/>
                </a:cubicBezTo>
                <a:cubicBezTo>
                  <a:pt x="308134" y="269844"/>
                  <a:pt x="260509" y="222219"/>
                  <a:pt x="260509" y="163449"/>
                </a:cubicBezTo>
                <a:cubicBezTo>
                  <a:pt x="260509" y="104680"/>
                  <a:pt x="308134" y="57055"/>
                  <a:pt x="366903" y="57055"/>
                </a:cubicBezTo>
                <a:close/>
                <a:moveTo>
                  <a:pt x="605885" y="56769"/>
                </a:moveTo>
                <a:lnTo>
                  <a:pt x="605885" y="100393"/>
                </a:lnTo>
                <a:lnTo>
                  <a:pt x="605981" y="100393"/>
                </a:lnTo>
                <a:cubicBezTo>
                  <a:pt x="574453" y="102013"/>
                  <a:pt x="547307" y="120301"/>
                  <a:pt x="547307" y="167164"/>
                </a:cubicBezTo>
                <a:cubicBezTo>
                  <a:pt x="547307" y="205073"/>
                  <a:pt x="547402" y="204025"/>
                  <a:pt x="547402" y="266795"/>
                </a:cubicBezTo>
                <a:lnTo>
                  <a:pt x="500920" y="266795"/>
                </a:lnTo>
                <a:lnTo>
                  <a:pt x="500920" y="63722"/>
                </a:lnTo>
                <a:lnTo>
                  <a:pt x="546164" y="63722"/>
                </a:lnTo>
                <a:lnTo>
                  <a:pt x="546164" y="87154"/>
                </a:lnTo>
                <a:cubicBezTo>
                  <a:pt x="552069" y="76295"/>
                  <a:pt x="566166" y="56769"/>
                  <a:pt x="605885" y="56769"/>
                </a:cubicBezTo>
                <a:close/>
                <a:moveTo>
                  <a:pt x="0" y="21622"/>
                </a:moveTo>
                <a:lnTo>
                  <a:pt x="47339" y="21622"/>
                </a:lnTo>
                <a:lnTo>
                  <a:pt x="186214" y="185166"/>
                </a:lnTo>
                <a:lnTo>
                  <a:pt x="186214" y="21622"/>
                </a:lnTo>
                <a:lnTo>
                  <a:pt x="233077" y="21622"/>
                </a:lnTo>
                <a:lnTo>
                  <a:pt x="232982" y="266700"/>
                </a:lnTo>
                <a:lnTo>
                  <a:pt x="189548" y="266700"/>
                </a:lnTo>
                <a:lnTo>
                  <a:pt x="48959" y="102680"/>
                </a:lnTo>
                <a:lnTo>
                  <a:pt x="48959" y="266414"/>
                </a:lnTo>
                <a:lnTo>
                  <a:pt x="0" y="266414"/>
                </a:lnTo>
                <a:close/>
                <a:moveTo>
                  <a:pt x="780098" y="0"/>
                </a:moveTo>
                <a:lnTo>
                  <a:pt x="823722" y="0"/>
                </a:lnTo>
                <a:lnTo>
                  <a:pt x="823722" y="161449"/>
                </a:lnTo>
                <a:cubicBezTo>
                  <a:pt x="823722" y="162115"/>
                  <a:pt x="823722" y="162782"/>
                  <a:pt x="823722" y="163449"/>
                </a:cubicBezTo>
                <a:cubicBezTo>
                  <a:pt x="823722" y="164116"/>
                  <a:pt x="823722" y="164783"/>
                  <a:pt x="823722" y="165449"/>
                </a:cubicBezTo>
                <a:lnTo>
                  <a:pt x="823722" y="266795"/>
                </a:lnTo>
                <a:cubicBezTo>
                  <a:pt x="823722" y="266795"/>
                  <a:pt x="782765" y="266795"/>
                  <a:pt x="782765" y="266795"/>
                </a:cubicBezTo>
                <a:lnTo>
                  <a:pt x="782765" y="239649"/>
                </a:lnTo>
                <a:cubicBezTo>
                  <a:pt x="771906" y="258889"/>
                  <a:pt x="740283" y="269748"/>
                  <a:pt x="717519" y="269748"/>
                </a:cubicBezTo>
                <a:cubicBezTo>
                  <a:pt x="656559" y="269748"/>
                  <a:pt x="607600" y="218408"/>
                  <a:pt x="611505" y="156591"/>
                </a:cubicBezTo>
                <a:cubicBezTo>
                  <a:pt x="614839" y="104299"/>
                  <a:pt x="656940" y="61722"/>
                  <a:pt x="709232" y="57531"/>
                </a:cubicBezTo>
                <a:cubicBezTo>
                  <a:pt x="737235" y="55245"/>
                  <a:pt x="769716" y="66104"/>
                  <a:pt x="780098" y="79819"/>
                </a:cubicBezTo>
                <a:close/>
              </a:path>
            </a:pathLst>
          </a:custGeom>
          <a:solidFill>
            <a:schemeClr val="bg1"/>
          </a:soli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107378901"/>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a:t>Click to edit Master title style</a:t>
            </a:r>
            <a:endParaRPr lang="en-GB" dirty="0"/>
          </a:p>
        </p:txBody>
      </p:sp>
      <p:sp>
        <p:nvSpPr>
          <p:cNvPr id="4" name="Content Placeholder 3"/>
          <p:cNvSpPr>
            <a:spLocks noGrp="1"/>
          </p:cNvSpPr>
          <p:nvPr>
            <p:ph sz="half" idx="2"/>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8067600" y="1332000"/>
            <a:ext cx="3492000" cy="2124000"/>
          </a:xfrm>
          <a:solidFill>
            <a:schemeClr val="bg1">
              <a:lumMod val="95000"/>
            </a:schemeClr>
          </a:solidFill>
        </p:spPr>
        <p:txBody>
          <a:bodyPr anchor="ctr" anchorCtr="0"/>
          <a:lstStyle>
            <a:lvl1pPr marL="0" indent="0" algn="ctr">
              <a:buFontTx/>
              <a:buNone/>
              <a:defRPr/>
            </a:lvl1pPr>
          </a:lstStyle>
          <a:p>
            <a:r>
              <a:rPr lang="en-GB"/>
              <a:t>Insert image by clicking on placeholder + Images button</a:t>
            </a:r>
            <a:endParaRPr lang="en-GB" dirty="0"/>
          </a:p>
        </p:txBody>
      </p:sp>
      <p:sp>
        <p:nvSpPr>
          <p:cNvPr id="8" name="Content Placeholder 3"/>
          <p:cNvSpPr>
            <a:spLocks noGrp="1"/>
          </p:cNvSpPr>
          <p:nvPr>
            <p:ph sz="half" idx="15"/>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1" name="Picture Placeholder 9"/>
          <p:cNvSpPr>
            <a:spLocks noGrp="1"/>
          </p:cNvSpPr>
          <p:nvPr>
            <p:ph type="pic" sz="quarter" idx="16" hasCustomPrompt="1"/>
          </p:nvPr>
        </p:nvSpPr>
        <p:spPr>
          <a:xfrm>
            <a:off x="8067600" y="3636000"/>
            <a:ext cx="3492000" cy="2124000"/>
          </a:xfrm>
          <a:solidFill>
            <a:schemeClr val="bg1">
              <a:lumMod val="95000"/>
            </a:schemeClr>
          </a:solidFill>
        </p:spPr>
        <p:txBody>
          <a:bodyPr anchor="ctr" anchorCtr="0"/>
          <a:lstStyle>
            <a:lvl1pPr marL="0" indent="0" algn="ctr">
              <a:buFontTx/>
              <a:buNone/>
              <a:defRPr/>
            </a:lvl1pPr>
          </a:lstStyle>
          <a:p>
            <a:r>
              <a:rPr lang="en-GB"/>
              <a:t>Insert image by clicking on placeholder + Images button</a:t>
            </a:r>
            <a:endParaRPr lang="en-GB" dirty="0"/>
          </a:p>
        </p:txBody>
      </p:sp>
      <p:sp>
        <p:nvSpPr>
          <p:cNvPr id="5" name="Footer Placeholder 4"/>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3151295806"/>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8000" y="1980000"/>
            <a:ext cx="10908000" cy="3780000"/>
          </a:xfrm>
          <a:solidFill>
            <a:schemeClr val="bg1">
              <a:lumMod val="95000"/>
            </a:schemeClr>
          </a:solidFill>
        </p:spPr>
        <p:txBody>
          <a:bodyPr anchor="ctr" anchorCtr="0"/>
          <a:lstStyle>
            <a:lvl1pPr marL="0" indent="0" algn="ctr">
              <a:buFontTx/>
              <a:buNone/>
              <a:defRPr/>
            </a:lvl1pPr>
          </a:lstStyle>
          <a:p>
            <a:r>
              <a:rPr lang="en-GB"/>
              <a:t>Insert image by clicking on placeholder + Images button</a:t>
            </a:r>
            <a:endParaRPr lang="en-GB" dirty="0"/>
          </a:p>
        </p:txBody>
      </p:sp>
      <p:sp>
        <p:nvSpPr>
          <p:cNvPr id="2" name="Title 1"/>
          <p:cNvSpPr>
            <a:spLocks noGrp="1"/>
          </p:cNvSpPr>
          <p:nvPr>
            <p:ph type="title"/>
          </p:nvPr>
        </p:nvSpPr>
        <p:spPr>
          <a:xfrm>
            <a:off x="2496600" y="360000"/>
            <a:ext cx="7200000" cy="972000"/>
          </a:xfrm>
        </p:spPr>
        <p:txBody>
          <a:bodyPr>
            <a:noAutofit/>
          </a:bodyPr>
          <a:lstStyle>
            <a:lvl1pPr algn="ctr">
              <a:defRPr sz="3000"/>
            </a:lvl1pPr>
          </a:lstStyle>
          <a:p>
            <a:r>
              <a:rPr lang="en-GB"/>
              <a:t>Click to edit Master title style</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latin typeface="+mj-lt"/>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Click to add subtitle</a:t>
            </a:r>
            <a:endParaRPr lang="en-GB" dirty="0"/>
          </a:p>
        </p:txBody>
      </p:sp>
      <p:sp>
        <p:nvSpPr>
          <p:cNvPr id="4" name="Footer Placeholder 3"/>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14789367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hapter Divi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72018" y="1617260"/>
            <a:ext cx="8402188" cy="1842446"/>
          </a:xfrm>
        </p:spPr>
        <p:txBody>
          <a:bodyPr anchor="b" anchorCtr="0">
            <a:noAutofit/>
          </a:bodyPr>
          <a:lstStyle>
            <a:lvl1pPr algn="ctr">
              <a:defRPr sz="4000" b="1" cap="none" baseline="0">
                <a:solidFill>
                  <a:schemeClr val="accent4"/>
                </a:solidFill>
                <a:latin typeface="+mj-lt"/>
              </a:defRPr>
            </a:lvl1pPr>
          </a:lstStyle>
          <a:p>
            <a:r>
              <a:rPr lang="en-GB"/>
              <a:t>Click to edit Master title style</a:t>
            </a:r>
            <a:endParaRPr lang="en-GB" dirty="0"/>
          </a:p>
        </p:txBody>
      </p:sp>
      <p:sp>
        <p:nvSpPr>
          <p:cNvPr id="3" name="Text Placeholder 2"/>
          <p:cNvSpPr>
            <a:spLocks noGrp="1"/>
          </p:cNvSpPr>
          <p:nvPr>
            <p:ph type="body" idx="1"/>
          </p:nvPr>
        </p:nvSpPr>
        <p:spPr>
          <a:xfrm>
            <a:off x="1872018" y="3695879"/>
            <a:ext cx="8402188" cy="720167"/>
          </a:xfrm>
        </p:spPr>
        <p:txBody>
          <a:bodyPr anchor="t" anchorCtr="0">
            <a:noAutofit/>
          </a:bodyPr>
          <a:lstStyle>
            <a:lvl1pPr marL="0" indent="0" algn="ctr">
              <a:buNone/>
              <a:defRPr sz="2000" b="1">
                <a:solidFill>
                  <a:schemeClr val="bg1"/>
                </a:solidFill>
                <a:latin typeface="+mj-lt"/>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a:t>Click to edit Master text styles</a:t>
            </a:r>
            <a:endParaRPr lang="en-GB" dirty="0"/>
          </a:p>
        </p:txBody>
      </p:sp>
      <p:grpSp>
        <p:nvGrpSpPr>
          <p:cNvPr id="7" name="Pulse">
            <a:extLst>
              <a:ext uri="{FF2B5EF4-FFF2-40B4-BE49-F238E27FC236}">
                <a16:creationId xmlns:a16="http://schemas.microsoft.com/office/drawing/2014/main" id="{C68BB270-0180-6C0D-F35A-670CC32C7A89}"/>
              </a:ext>
            </a:extLst>
          </p:cNvPr>
          <p:cNvGrpSpPr/>
          <p:nvPr userDrawn="1"/>
        </p:nvGrpSpPr>
        <p:grpSpPr>
          <a:xfrm>
            <a:off x="9557448" y="3630308"/>
            <a:ext cx="2640901" cy="2674962"/>
            <a:chOff x="8751888" y="3030538"/>
            <a:chExt cx="3446462" cy="3490913"/>
          </a:xfrm>
          <a:solidFill>
            <a:schemeClr val="bg2"/>
          </a:solidFill>
        </p:grpSpPr>
        <p:sp>
          <p:nvSpPr>
            <p:cNvPr id="8" name="Freeform 5">
              <a:extLst>
                <a:ext uri="{FF2B5EF4-FFF2-40B4-BE49-F238E27FC236}">
                  <a16:creationId xmlns:a16="http://schemas.microsoft.com/office/drawing/2014/main" id="{05AEDEF5-EF6A-3786-1898-11A7B4D67DAA}"/>
                </a:ext>
              </a:extLst>
            </p:cNvPr>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6">
              <a:extLst>
                <a:ext uri="{FF2B5EF4-FFF2-40B4-BE49-F238E27FC236}">
                  <a16:creationId xmlns:a16="http://schemas.microsoft.com/office/drawing/2014/main" id="{B48B5423-D79D-A870-B332-830D2CFD4BD9}"/>
                </a:ext>
              </a:extLst>
            </p:cNvPr>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7">
              <a:extLst>
                <a:ext uri="{FF2B5EF4-FFF2-40B4-BE49-F238E27FC236}">
                  <a16:creationId xmlns:a16="http://schemas.microsoft.com/office/drawing/2014/main" id="{A215C7BC-AD3A-FDA5-BBE4-2B07E79DE7EC}"/>
                </a:ext>
              </a:extLst>
            </p:cNvPr>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8">
              <a:extLst>
                <a:ext uri="{FF2B5EF4-FFF2-40B4-BE49-F238E27FC236}">
                  <a16:creationId xmlns:a16="http://schemas.microsoft.com/office/drawing/2014/main" id="{84170E1D-4367-1F8D-BE5A-1664CACBE6EC}"/>
                </a:ext>
              </a:extLst>
            </p:cNvPr>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9">
              <a:extLst>
                <a:ext uri="{FF2B5EF4-FFF2-40B4-BE49-F238E27FC236}">
                  <a16:creationId xmlns:a16="http://schemas.microsoft.com/office/drawing/2014/main" id="{EDD0BCCE-1016-C6D6-53F2-8F48EED1C277}"/>
                </a:ext>
              </a:extLst>
            </p:cNvPr>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0">
              <a:extLst>
                <a:ext uri="{FF2B5EF4-FFF2-40B4-BE49-F238E27FC236}">
                  <a16:creationId xmlns:a16="http://schemas.microsoft.com/office/drawing/2014/main" id="{E4A903BB-B536-932E-3CCC-D8E81E7871FE}"/>
                </a:ext>
              </a:extLst>
            </p:cNvPr>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7097439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rgbClr val="E5F2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3784" y="2135826"/>
            <a:ext cx="5239445" cy="2450040"/>
          </a:xfrm>
        </p:spPr>
        <p:txBody>
          <a:bodyPr>
            <a:noAutofit/>
          </a:bodyPr>
          <a:lstStyle>
            <a:lvl1pPr algn="l">
              <a:defRPr sz="4000" b="0">
                <a:solidFill>
                  <a:schemeClr val="accent1"/>
                </a:solidFill>
                <a:latin typeface="+mn-lt"/>
              </a:defRPr>
            </a:lvl1pPr>
          </a:lstStyle>
          <a:p>
            <a:r>
              <a:rPr lang="en-GB"/>
              <a:t>Click and type quote </a:t>
            </a:r>
            <a:endParaRPr lang="en-GB" dirty="0"/>
          </a:p>
        </p:txBody>
      </p:sp>
      <p:sp>
        <p:nvSpPr>
          <p:cNvPr id="5" name="Slide Number Placeholder 4"/>
          <p:cNvSpPr>
            <a:spLocks noGrp="1"/>
          </p:cNvSpPr>
          <p:nvPr>
            <p:ph type="sldNum" sz="quarter" idx="12"/>
          </p:nvPr>
        </p:nvSpPr>
        <p:spPr/>
        <p:txBody>
          <a:bodyPr/>
          <a:lstStyle>
            <a:lvl1pPr>
              <a:defRPr>
                <a:solidFill>
                  <a:schemeClr val="accent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3243783" y="4801617"/>
            <a:ext cx="5239445" cy="540000"/>
          </a:xfrm>
        </p:spPr>
        <p:txBody>
          <a:bodyPr>
            <a:noAutofit/>
          </a:bodyPr>
          <a:lstStyle>
            <a:lvl1pPr marL="0" indent="0" algn="l">
              <a:buFontTx/>
              <a:buNone/>
              <a:defRPr b="0">
                <a:solidFill>
                  <a:schemeClr val="accent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endParaRPr lang="en-GB" dirty="0"/>
          </a:p>
        </p:txBody>
      </p:sp>
      <p:sp>
        <p:nvSpPr>
          <p:cNvPr id="3" name="Footer Placeholder 2"/>
          <p:cNvSpPr>
            <a:spLocks noGrp="1"/>
          </p:cNvSpPr>
          <p:nvPr>
            <p:ph type="ftr" sz="quarter" idx="14"/>
          </p:nvPr>
        </p:nvSpPr>
        <p:spPr/>
        <p:txBody>
          <a:bodyPr/>
          <a:lstStyle>
            <a:lvl1pPr>
              <a:defRPr>
                <a:solidFill>
                  <a:schemeClr val="accent1"/>
                </a:solidFill>
              </a:defRPr>
            </a:lvl1pPr>
          </a:lstStyle>
          <a:p>
            <a:endParaRPr lang="en-GB" dirty="0"/>
          </a:p>
        </p:txBody>
      </p:sp>
      <p:grpSp>
        <p:nvGrpSpPr>
          <p:cNvPr id="14" name="Quote">
            <a:extLst>
              <a:ext uri="{FF2B5EF4-FFF2-40B4-BE49-F238E27FC236}">
                <a16:creationId xmlns:a16="http://schemas.microsoft.com/office/drawing/2014/main" id="{36288991-A23D-A2A3-792C-522E9B30EAED}"/>
              </a:ext>
            </a:extLst>
          </p:cNvPr>
          <p:cNvGrpSpPr>
            <a:grpSpLocks noChangeAspect="1"/>
          </p:cNvGrpSpPr>
          <p:nvPr userDrawn="1"/>
        </p:nvGrpSpPr>
        <p:grpSpPr>
          <a:xfrm>
            <a:off x="614439" y="639606"/>
            <a:ext cx="2291716" cy="1548000"/>
            <a:chOff x="2817011" y="265837"/>
            <a:chExt cx="2614377" cy="1765949"/>
          </a:xfrm>
          <a:solidFill>
            <a:schemeClr val="accent3"/>
          </a:solidFill>
        </p:grpSpPr>
        <p:sp>
          <p:nvSpPr>
            <p:cNvPr id="11" name="Freeform: Shape 10">
              <a:extLst>
                <a:ext uri="{FF2B5EF4-FFF2-40B4-BE49-F238E27FC236}">
                  <a16:creationId xmlns:a16="http://schemas.microsoft.com/office/drawing/2014/main" id="{A346AE66-BCC3-63A1-734B-97BBE232913B}"/>
                </a:ext>
              </a:extLst>
            </p:cNvPr>
            <p:cNvSpPr/>
            <p:nvPr/>
          </p:nvSpPr>
          <p:spPr>
            <a:xfrm>
              <a:off x="2817011" y="265837"/>
              <a:ext cx="1236586" cy="1765949"/>
            </a:xfrm>
            <a:custGeom>
              <a:avLst/>
              <a:gdLst>
                <a:gd name="connsiteX0" fmla="*/ 1212545 w 1236586"/>
                <a:gd name="connsiteY0" fmla="*/ 482239 h 1765949"/>
                <a:gd name="connsiteX1" fmla="*/ 933272 w 1236586"/>
                <a:gd name="connsiteY1" fmla="*/ 98000 h 1765949"/>
                <a:gd name="connsiteX2" fmla="*/ 391109 w 1236586"/>
                <a:gd name="connsiteY2" fmla="*/ 29611 h 1765949"/>
                <a:gd name="connsiteX3" fmla="*/ 41732 w 1236586"/>
                <a:gd name="connsiteY3" fmla="*/ 331839 h 1765949"/>
                <a:gd name="connsiteX4" fmla="*/ 76879 w 1236586"/>
                <a:gd name="connsiteY4" fmla="*/ 772275 h 1765949"/>
                <a:gd name="connsiteX5" fmla="*/ 291287 w 1236586"/>
                <a:gd name="connsiteY5" fmla="*/ 947249 h 1765949"/>
                <a:gd name="connsiteX6" fmla="*/ 598373 w 1236586"/>
                <a:gd name="connsiteY6" fmla="*/ 984683 h 1765949"/>
                <a:gd name="connsiteX7" fmla="*/ 415016 w 1236586"/>
                <a:gd name="connsiteY7" fmla="*/ 1376636 h 1765949"/>
                <a:gd name="connsiteX8" fmla="*/ 197561 w 1236586"/>
                <a:gd name="connsiteY8" fmla="*/ 1504938 h 1765949"/>
                <a:gd name="connsiteX9" fmla="*/ 264902 w 1236586"/>
                <a:gd name="connsiteY9" fmla="*/ 1643717 h 1765949"/>
                <a:gd name="connsiteX10" fmla="*/ 308146 w 1236586"/>
                <a:gd name="connsiteY10" fmla="*/ 1732871 h 1765949"/>
                <a:gd name="connsiteX11" fmla="*/ 324338 w 1236586"/>
                <a:gd name="connsiteY11" fmla="*/ 1765733 h 1765949"/>
                <a:gd name="connsiteX12" fmla="*/ 338150 w 1236586"/>
                <a:gd name="connsiteY12" fmla="*/ 1762494 h 1765949"/>
                <a:gd name="connsiteX13" fmla="*/ 371011 w 1236586"/>
                <a:gd name="connsiteY13" fmla="*/ 1753731 h 1765949"/>
                <a:gd name="connsiteX14" fmla="*/ 481406 w 1236586"/>
                <a:gd name="connsiteY14" fmla="*/ 1716965 h 1765949"/>
                <a:gd name="connsiteX15" fmla="*/ 806780 w 1236586"/>
                <a:gd name="connsiteY15" fmla="*/ 1542086 h 1765949"/>
                <a:gd name="connsiteX16" fmla="*/ 1115771 w 1236586"/>
                <a:gd name="connsiteY16" fmla="*/ 1192518 h 1765949"/>
                <a:gd name="connsiteX17" fmla="*/ 1207592 w 1236586"/>
                <a:gd name="connsiteY17" fmla="*/ 937629 h 1765949"/>
                <a:gd name="connsiteX18" fmla="*/ 1229594 w 1236586"/>
                <a:gd name="connsiteY18" fmla="*/ 567869 h 1765949"/>
                <a:gd name="connsiteX19" fmla="*/ 1212545 w 1236586"/>
                <a:gd name="connsiteY19" fmla="*/ 482048 h 176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6586" h="1765949">
                  <a:moveTo>
                    <a:pt x="1212545" y="482239"/>
                  </a:moveTo>
                  <a:cubicBezTo>
                    <a:pt x="1179112" y="321743"/>
                    <a:pt x="1071098" y="183725"/>
                    <a:pt x="933272" y="98000"/>
                  </a:cubicBezTo>
                  <a:cubicBezTo>
                    <a:pt x="771347" y="-2774"/>
                    <a:pt x="572655" y="-26301"/>
                    <a:pt x="391109" y="29611"/>
                  </a:cubicBezTo>
                  <a:cubicBezTo>
                    <a:pt x="241185" y="75807"/>
                    <a:pt x="106978" y="188678"/>
                    <a:pt x="41732" y="331839"/>
                  </a:cubicBezTo>
                  <a:cubicBezTo>
                    <a:pt x="-23324" y="474524"/>
                    <a:pt x="-12847" y="642354"/>
                    <a:pt x="76879" y="772275"/>
                  </a:cubicBezTo>
                  <a:cubicBezTo>
                    <a:pt x="129838" y="848951"/>
                    <a:pt x="204038" y="912674"/>
                    <a:pt x="291287" y="947249"/>
                  </a:cubicBezTo>
                  <a:cubicBezTo>
                    <a:pt x="387299" y="985254"/>
                    <a:pt x="496169" y="997732"/>
                    <a:pt x="598373" y="984683"/>
                  </a:cubicBezTo>
                  <a:cubicBezTo>
                    <a:pt x="608183" y="1133082"/>
                    <a:pt x="523792" y="1282244"/>
                    <a:pt x="415016" y="1376636"/>
                  </a:cubicBezTo>
                  <a:cubicBezTo>
                    <a:pt x="351008" y="1432167"/>
                    <a:pt x="276047" y="1473791"/>
                    <a:pt x="197561" y="1504938"/>
                  </a:cubicBezTo>
                  <a:cubicBezTo>
                    <a:pt x="220040" y="1551230"/>
                    <a:pt x="242423" y="1597521"/>
                    <a:pt x="264902" y="1643717"/>
                  </a:cubicBezTo>
                  <a:cubicBezTo>
                    <a:pt x="279285" y="1673435"/>
                    <a:pt x="293763" y="1703153"/>
                    <a:pt x="308146" y="1732871"/>
                  </a:cubicBezTo>
                  <a:cubicBezTo>
                    <a:pt x="310908" y="1738491"/>
                    <a:pt x="318433" y="1763161"/>
                    <a:pt x="324338" y="1765733"/>
                  </a:cubicBezTo>
                  <a:cubicBezTo>
                    <a:pt x="326815" y="1766876"/>
                    <a:pt x="335578" y="1763161"/>
                    <a:pt x="338150" y="1762494"/>
                  </a:cubicBezTo>
                  <a:cubicBezTo>
                    <a:pt x="349199" y="1759827"/>
                    <a:pt x="360152" y="1756874"/>
                    <a:pt x="371011" y="1753731"/>
                  </a:cubicBezTo>
                  <a:cubicBezTo>
                    <a:pt x="408349" y="1743158"/>
                    <a:pt x="445115" y="1730776"/>
                    <a:pt x="481406" y="1716965"/>
                  </a:cubicBezTo>
                  <a:cubicBezTo>
                    <a:pt x="596753" y="1673150"/>
                    <a:pt x="707148" y="1614952"/>
                    <a:pt x="806780" y="1542086"/>
                  </a:cubicBezTo>
                  <a:cubicBezTo>
                    <a:pt x="933462" y="1449407"/>
                    <a:pt x="1041952" y="1331583"/>
                    <a:pt x="1115771" y="1192518"/>
                  </a:cubicBezTo>
                  <a:cubicBezTo>
                    <a:pt x="1158252" y="1112413"/>
                    <a:pt x="1188923" y="1026307"/>
                    <a:pt x="1207592" y="937629"/>
                  </a:cubicBezTo>
                  <a:cubicBezTo>
                    <a:pt x="1232833" y="817709"/>
                    <a:pt x="1245406" y="689693"/>
                    <a:pt x="1229594" y="567869"/>
                  </a:cubicBezTo>
                  <a:cubicBezTo>
                    <a:pt x="1225784" y="538913"/>
                    <a:pt x="1220355" y="510147"/>
                    <a:pt x="1212545" y="482048"/>
                  </a:cubicBezTo>
                  <a:close/>
                </a:path>
              </a:pathLst>
            </a:custGeom>
            <a:grp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A75C50E4-F6DE-940D-DE91-F853D2F0A642}"/>
                </a:ext>
              </a:extLst>
            </p:cNvPr>
            <p:cNvSpPr/>
            <p:nvPr/>
          </p:nvSpPr>
          <p:spPr>
            <a:xfrm>
              <a:off x="4194682" y="265837"/>
              <a:ext cx="1236706" cy="1765949"/>
            </a:xfrm>
            <a:custGeom>
              <a:avLst/>
              <a:gdLst>
                <a:gd name="connsiteX0" fmla="*/ 1212665 w 1236706"/>
                <a:gd name="connsiteY0" fmla="*/ 482239 h 1765949"/>
                <a:gd name="connsiteX1" fmla="*/ 933392 w 1236706"/>
                <a:gd name="connsiteY1" fmla="*/ 98000 h 1765949"/>
                <a:gd name="connsiteX2" fmla="*/ 391229 w 1236706"/>
                <a:gd name="connsiteY2" fmla="*/ 29611 h 1765949"/>
                <a:gd name="connsiteX3" fmla="*/ 41852 w 1236706"/>
                <a:gd name="connsiteY3" fmla="*/ 331839 h 1765949"/>
                <a:gd name="connsiteX4" fmla="*/ 76999 w 1236706"/>
                <a:gd name="connsiteY4" fmla="*/ 772275 h 1765949"/>
                <a:gd name="connsiteX5" fmla="*/ 291407 w 1236706"/>
                <a:gd name="connsiteY5" fmla="*/ 947249 h 1765949"/>
                <a:gd name="connsiteX6" fmla="*/ 598493 w 1236706"/>
                <a:gd name="connsiteY6" fmla="*/ 984683 h 1765949"/>
                <a:gd name="connsiteX7" fmla="*/ 415137 w 1236706"/>
                <a:gd name="connsiteY7" fmla="*/ 1376636 h 1765949"/>
                <a:gd name="connsiteX8" fmla="*/ 197681 w 1236706"/>
                <a:gd name="connsiteY8" fmla="*/ 1504938 h 1765949"/>
                <a:gd name="connsiteX9" fmla="*/ 265023 w 1236706"/>
                <a:gd name="connsiteY9" fmla="*/ 1643717 h 1765949"/>
                <a:gd name="connsiteX10" fmla="*/ 308266 w 1236706"/>
                <a:gd name="connsiteY10" fmla="*/ 1732871 h 1765949"/>
                <a:gd name="connsiteX11" fmla="*/ 324459 w 1236706"/>
                <a:gd name="connsiteY11" fmla="*/ 1765733 h 1765949"/>
                <a:gd name="connsiteX12" fmla="*/ 338270 w 1236706"/>
                <a:gd name="connsiteY12" fmla="*/ 1762494 h 1765949"/>
                <a:gd name="connsiteX13" fmla="*/ 371131 w 1236706"/>
                <a:gd name="connsiteY13" fmla="*/ 1753731 h 1765949"/>
                <a:gd name="connsiteX14" fmla="*/ 481526 w 1236706"/>
                <a:gd name="connsiteY14" fmla="*/ 1716965 h 1765949"/>
                <a:gd name="connsiteX15" fmla="*/ 806900 w 1236706"/>
                <a:gd name="connsiteY15" fmla="*/ 1542086 h 1765949"/>
                <a:gd name="connsiteX16" fmla="*/ 1115891 w 1236706"/>
                <a:gd name="connsiteY16" fmla="*/ 1192518 h 1765949"/>
                <a:gd name="connsiteX17" fmla="*/ 1207712 w 1236706"/>
                <a:gd name="connsiteY17" fmla="*/ 937629 h 1765949"/>
                <a:gd name="connsiteX18" fmla="*/ 1229715 w 1236706"/>
                <a:gd name="connsiteY18" fmla="*/ 567869 h 1765949"/>
                <a:gd name="connsiteX19" fmla="*/ 1212665 w 1236706"/>
                <a:gd name="connsiteY19" fmla="*/ 482048 h 176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6706" h="1765949">
                  <a:moveTo>
                    <a:pt x="1212665" y="482239"/>
                  </a:moveTo>
                  <a:cubicBezTo>
                    <a:pt x="1179232" y="321743"/>
                    <a:pt x="1071219" y="183725"/>
                    <a:pt x="933392" y="98000"/>
                  </a:cubicBezTo>
                  <a:cubicBezTo>
                    <a:pt x="771467" y="-2774"/>
                    <a:pt x="572871" y="-26301"/>
                    <a:pt x="391229" y="29611"/>
                  </a:cubicBezTo>
                  <a:cubicBezTo>
                    <a:pt x="241305" y="75807"/>
                    <a:pt x="107193" y="188678"/>
                    <a:pt x="41852" y="331839"/>
                  </a:cubicBezTo>
                  <a:cubicBezTo>
                    <a:pt x="-23490" y="475000"/>
                    <a:pt x="-12726" y="642354"/>
                    <a:pt x="76999" y="772275"/>
                  </a:cubicBezTo>
                  <a:cubicBezTo>
                    <a:pt x="129958" y="848951"/>
                    <a:pt x="204158" y="912674"/>
                    <a:pt x="291407" y="947249"/>
                  </a:cubicBezTo>
                  <a:cubicBezTo>
                    <a:pt x="387419" y="985254"/>
                    <a:pt x="496290" y="997732"/>
                    <a:pt x="598493" y="984683"/>
                  </a:cubicBezTo>
                  <a:cubicBezTo>
                    <a:pt x="608304" y="1133082"/>
                    <a:pt x="523912" y="1282244"/>
                    <a:pt x="415137" y="1376636"/>
                  </a:cubicBezTo>
                  <a:cubicBezTo>
                    <a:pt x="351129" y="1432167"/>
                    <a:pt x="276167" y="1473791"/>
                    <a:pt x="197681" y="1504938"/>
                  </a:cubicBezTo>
                  <a:cubicBezTo>
                    <a:pt x="220160" y="1551230"/>
                    <a:pt x="242544" y="1597521"/>
                    <a:pt x="265023" y="1643717"/>
                  </a:cubicBezTo>
                  <a:cubicBezTo>
                    <a:pt x="279406" y="1673435"/>
                    <a:pt x="293884" y="1703153"/>
                    <a:pt x="308266" y="1732871"/>
                  </a:cubicBezTo>
                  <a:cubicBezTo>
                    <a:pt x="311028" y="1738491"/>
                    <a:pt x="318553" y="1763161"/>
                    <a:pt x="324459" y="1765733"/>
                  </a:cubicBezTo>
                  <a:cubicBezTo>
                    <a:pt x="326935" y="1766876"/>
                    <a:pt x="335698" y="1763161"/>
                    <a:pt x="338270" y="1762494"/>
                  </a:cubicBezTo>
                  <a:cubicBezTo>
                    <a:pt x="349319" y="1759827"/>
                    <a:pt x="360273" y="1756874"/>
                    <a:pt x="371131" y="1753731"/>
                  </a:cubicBezTo>
                  <a:cubicBezTo>
                    <a:pt x="408469" y="1743158"/>
                    <a:pt x="445236" y="1730776"/>
                    <a:pt x="481526" y="1716965"/>
                  </a:cubicBezTo>
                  <a:cubicBezTo>
                    <a:pt x="596874" y="1673150"/>
                    <a:pt x="707268" y="1614952"/>
                    <a:pt x="806900" y="1542086"/>
                  </a:cubicBezTo>
                  <a:cubicBezTo>
                    <a:pt x="933582" y="1449407"/>
                    <a:pt x="1042072" y="1331583"/>
                    <a:pt x="1115891" y="1192518"/>
                  </a:cubicBezTo>
                  <a:cubicBezTo>
                    <a:pt x="1158373" y="1112413"/>
                    <a:pt x="1189043" y="1026307"/>
                    <a:pt x="1207712" y="937629"/>
                  </a:cubicBezTo>
                  <a:cubicBezTo>
                    <a:pt x="1232953" y="817709"/>
                    <a:pt x="1245526" y="689693"/>
                    <a:pt x="1229715" y="567869"/>
                  </a:cubicBezTo>
                  <a:cubicBezTo>
                    <a:pt x="1225905" y="538913"/>
                    <a:pt x="1220475" y="510147"/>
                    <a:pt x="1212665" y="482048"/>
                  </a:cubicBezTo>
                  <a:close/>
                </a:path>
              </a:pathLst>
            </a:custGeom>
            <a:grp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7400194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3784" y="2135826"/>
            <a:ext cx="5239445" cy="2450040"/>
          </a:xfrm>
        </p:spPr>
        <p:txBody>
          <a:bodyPr>
            <a:noAutofit/>
          </a:bodyPr>
          <a:lstStyle>
            <a:lvl1pPr algn="l">
              <a:defRPr sz="4000" b="0">
                <a:solidFill>
                  <a:schemeClr val="accent4"/>
                </a:solidFill>
                <a:latin typeface="+mn-lt"/>
              </a:defRPr>
            </a:lvl1pPr>
          </a:lstStyle>
          <a:p>
            <a:r>
              <a:rPr lang="en-GB"/>
              <a:t>Click and type quote </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3243783" y="4801617"/>
            <a:ext cx="5239445" cy="540000"/>
          </a:xfrm>
        </p:spPr>
        <p:txBody>
          <a:bodyPr>
            <a:noAutofit/>
          </a:bodyPr>
          <a:lstStyle>
            <a:lvl1pPr marL="0" indent="0" algn="l">
              <a:buFontTx/>
              <a:buNone/>
              <a:defRPr b="0">
                <a:solidFill>
                  <a:schemeClr val="accent4"/>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endParaRPr lang="en-GB" dirty="0"/>
          </a:p>
        </p:txBody>
      </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grpSp>
        <p:nvGrpSpPr>
          <p:cNvPr id="14" name="Quote">
            <a:extLst>
              <a:ext uri="{FF2B5EF4-FFF2-40B4-BE49-F238E27FC236}">
                <a16:creationId xmlns:a16="http://schemas.microsoft.com/office/drawing/2014/main" id="{36288991-A23D-A2A3-792C-522E9B30EAED}"/>
              </a:ext>
            </a:extLst>
          </p:cNvPr>
          <p:cNvGrpSpPr>
            <a:grpSpLocks noChangeAspect="1"/>
          </p:cNvGrpSpPr>
          <p:nvPr userDrawn="1"/>
        </p:nvGrpSpPr>
        <p:grpSpPr>
          <a:xfrm>
            <a:off x="614439" y="639606"/>
            <a:ext cx="2291716" cy="1548000"/>
            <a:chOff x="2817011" y="265837"/>
            <a:chExt cx="2614377" cy="1765949"/>
          </a:xfrm>
          <a:solidFill>
            <a:schemeClr val="bg2"/>
          </a:solidFill>
        </p:grpSpPr>
        <p:sp>
          <p:nvSpPr>
            <p:cNvPr id="11" name="Freeform: Shape 10">
              <a:extLst>
                <a:ext uri="{FF2B5EF4-FFF2-40B4-BE49-F238E27FC236}">
                  <a16:creationId xmlns:a16="http://schemas.microsoft.com/office/drawing/2014/main" id="{A346AE66-BCC3-63A1-734B-97BBE232913B}"/>
                </a:ext>
              </a:extLst>
            </p:cNvPr>
            <p:cNvSpPr/>
            <p:nvPr/>
          </p:nvSpPr>
          <p:spPr>
            <a:xfrm>
              <a:off x="2817011" y="265837"/>
              <a:ext cx="1236586" cy="1765949"/>
            </a:xfrm>
            <a:custGeom>
              <a:avLst/>
              <a:gdLst>
                <a:gd name="connsiteX0" fmla="*/ 1212545 w 1236586"/>
                <a:gd name="connsiteY0" fmla="*/ 482239 h 1765949"/>
                <a:gd name="connsiteX1" fmla="*/ 933272 w 1236586"/>
                <a:gd name="connsiteY1" fmla="*/ 98000 h 1765949"/>
                <a:gd name="connsiteX2" fmla="*/ 391109 w 1236586"/>
                <a:gd name="connsiteY2" fmla="*/ 29611 h 1765949"/>
                <a:gd name="connsiteX3" fmla="*/ 41732 w 1236586"/>
                <a:gd name="connsiteY3" fmla="*/ 331839 h 1765949"/>
                <a:gd name="connsiteX4" fmla="*/ 76879 w 1236586"/>
                <a:gd name="connsiteY4" fmla="*/ 772275 h 1765949"/>
                <a:gd name="connsiteX5" fmla="*/ 291287 w 1236586"/>
                <a:gd name="connsiteY5" fmla="*/ 947249 h 1765949"/>
                <a:gd name="connsiteX6" fmla="*/ 598373 w 1236586"/>
                <a:gd name="connsiteY6" fmla="*/ 984683 h 1765949"/>
                <a:gd name="connsiteX7" fmla="*/ 415016 w 1236586"/>
                <a:gd name="connsiteY7" fmla="*/ 1376636 h 1765949"/>
                <a:gd name="connsiteX8" fmla="*/ 197561 w 1236586"/>
                <a:gd name="connsiteY8" fmla="*/ 1504938 h 1765949"/>
                <a:gd name="connsiteX9" fmla="*/ 264902 w 1236586"/>
                <a:gd name="connsiteY9" fmla="*/ 1643717 h 1765949"/>
                <a:gd name="connsiteX10" fmla="*/ 308146 w 1236586"/>
                <a:gd name="connsiteY10" fmla="*/ 1732871 h 1765949"/>
                <a:gd name="connsiteX11" fmla="*/ 324338 w 1236586"/>
                <a:gd name="connsiteY11" fmla="*/ 1765733 h 1765949"/>
                <a:gd name="connsiteX12" fmla="*/ 338150 w 1236586"/>
                <a:gd name="connsiteY12" fmla="*/ 1762494 h 1765949"/>
                <a:gd name="connsiteX13" fmla="*/ 371011 w 1236586"/>
                <a:gd name="connsiteY13" fmla="*/ 1753731 h 1765949"/>
                <a:gd name="connsiteX14" fmla="*/ 481406 w 1236586"/>
                <a:gd name="connsiteY14" fmla="*/ 1716965 h 1765949"/>
                <a:gd name="connsiteX15" fmla="*/ 806780 w 1236586"/>
                <a:gd name="connsiteY15" fmla="*/ 1542086 h 1765949"/>
                <a:gd name="connsiteX16" fmla="*/ 1115771 w 1236586"/>
                <a:gd name="connsiteY16" fmla="*/ 1192518 h 1765949"/>
                <a:gd name="connsiteX17" fmla="*/ 1207592 w 1236586"/>
                <a:gd name="connsiteY17" fmla="*/ 937629 h 1765949"/>
                <a:gd name="connsiteX18" fmla="*/ 1229594 w 1236586"/>
                <a:gd name="connsiteY18" fmla="*/ 567869 h 1765949"/>
                <a:gd name="connsiteX19" fmla="*/ 1212545 w 1236586"/>
                <a:gd name="connsiteY19" fmla="*/ 482048 h 176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6586" h="1765949">
                  <a:moveTo>
                    <a:pt x="1212545" y="482239"/>
                  </a:moveTo>
                  <a:cubicBezTo>
                    <a:pt x="1179112" y="321743"/>
                    <a:pt x="1071098" y="183725"/>
                    <a:pt x="933272" y="98000"/>
                  </a:cubicBezTo>
                  <a:cubicBezTo>
                    <a:pt x="771347" y="-2774"/>
                    <a:pt x="572655" y="-26301"/>
                    <a:pt x="391109" y="29611"/>
                  </a:cubicBezTo>
                  <a:cubicBezTo>
                    <a:pt x="241185" y="75807"/>
                    <a:pt x="106978" y="188678"/>
                    <a:pt x="41732" y="331839"/>
                  </a:cubicBezTo>
                  <a:cubicBezTo>
                    <a:pt x="-23324" y="474524"/>
                    <a:pt x="-12847" y="642354"/>
                    <a:pt x="76879" y="772275"/>
                  </a:cubicBezTo>
                  <a:cubicBezTo>
                    <a:pt x="129838" y="848951"/>
                    <a:pt x="204038" y="912674"/>
                    <a:pt x="291287" y="947249"/>
                  </a:cubicBezTo>
                  <a:cubicBezTo>
                    <a:pt x="387299" y="985254"/>
                    <a:pt x="496169" y="997732"/>
                    <a:pt x="598373" y="984683"/>
                  </a:cubicBezTo>
                  <a:cubicBezTo>
                    <a:pt x="608183" y="1133082"/>
                    <a:pt x="523792" y="1282244"/>
                    <a:pt x="415016" y="1376636"/>
                  </a:cubicBezTo>
                  <a:cubicBezTo>
                    <a:pt x="351008" y="1432167"/>
                    <a:pt x="276047" y="1473791"/>
                    <a:pt x="197561" y="1504938"/>
                  </a:cubicBezTo>
                  <a:cubicBezTo>
                    <a:pt x="220040" y="1551230"/>
                    <a:pt x="242423" y="1597521"/>
                    <a:pt x="264902" y="1643717"/>
                  </a:cubicBezTo>
                  <a:cubicBezTo>
                    <a:pt x="279285" y="1673435"/>
                    <a:pt x="293763" y="1703153"/>
                    <a:pt x="308146" y="1732871"/>
                  </a:cubicBezTo>
                  <a:cubicBezTo>
                    <a:pt x="310908" y="1738491"/>
                    <a:pt x="318433" y="1763161"/>
                    <a:pt x="324338" y="1765733"/>
                  </a:cubicBezTo>
                  <a:cubicBezTo>
                    <a:pt x="326815" y="1766876"/>
                    <a:pt x="335578" y="1763161"/>
                    <a:pt x="338150" y="1762494"/>
                  </a:cubicBezTo>
                  <a:cubicBezTo>
                    <a:pt x="349199" y="1759827"/>
                    <a:pt x="360152" y="1756874"/>
                    <a:pt x="371011" y="1753731"/>
                  </a:cubicBezTo>
                  <a:cubicBezTo>
                    <a:pt x="408349" y="1743158"/>
                    <a:pt x="445115" y="1730776"/>
                    <a:pt x="481406" y="1716965"/>
                  </a:cubicBezTo>
                  <a:cubicBezTo>
                    <a:pt x="596753" y="1673150"/>
                    <a:pt x="707148" y="1614952"/>
                    <a:pt x="806780" y="1542086"/>
                  </a:cubicBezTo>
                  <a:cubicBezTo>
                    <a:pt x="933462" y="1449407"/>
                    <a:pt x="1041952" y="1331583"/>
                    <a:pt x="1115771" y="1192518"/>
                  </a:cubicBezTo>
                  <a:cubicBezTo>
                    <a:pt x="1158252" y="1112413"/>
                    <a:pt x="1188923" y="1026307"/>
                    <a:pt x="1207592" y="937629"/>
                  </a:cubicBezTo>
                  <a:cubicBezTo>
                    <a:pt x="1232833" y="817709"/>
                    <a:pt x="1245406" y="689693"/>
                    <a:pt x="1229594" y="567869"/>
                  </a:cubicBezTo>
                  <a:cubicBezTo>
                    <a:pt x="1225784" y="538913"/>
                    <a:pt x="1220355" y="510147"/>
                    <a:pt x="1212545" y="482048"/>
                  </a:cubicBezTo>
                  <a:close/>
                </a:path>
              </a:pathLst>
            </a:custGeom>
            <a:grpFill/>
            <a:ln w="952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A75C50E4-F6DE-940D-DE91-F853D2F0A642}"/>
                </a:ext>
              </a:extLst>
            </p:cNvPr>
            <p:cNvSpPr/>
            <p:nvPr/>
          </p:nvSpPr>
          <p:spPr>
            <a:xfrm>
              <a:off x="4194682" y="265837"/>
              <a:ext cx="1236706" cy="1765949"/>
            </a:xfrm>
            <a:custGeom>
              <a:avLst/>
              <a:gdLst>
                <a:gd name="connsiteX0" fmla="*/ 1212665 w 1236706"/>
                <a:gd name="connsiteY0" fmla="*/ 482239 h 1765949"/>
                <a:gd name="connsiteX1" fmla="*/ 933392 w 1236706"/>
                <a:gd name="connsiteY1" fmla="*/ 98000 h 1765949"/>
                <a:gd name="connsiteX2" fmla="*/ 391229 w 1236706"/>
                <a:gd name="connsiteY2" fmla="*/ 29611 h 1765949"/>
                <a:gd name="connsiteX3" fmla="*/ 41852 w 1236706"/>
                <a:gd name="connsiteY3" fmla="*/ 331839 h 1765949"/>
                <a:gd name="connsiteX4" fmla="*/ 76999 w 1236706"/>
                <a:gd name="connsiteY4" fmla="*/ 772275 h 1765949"/>
                <a:gd name="connsiteX5" fmla="*/ 291407 w 1236706"/>
                <a:gd name="connsiteY5" fmla="*/ 947249 h 1765949"/>
                <a:gd name="connsiteX6" fmla="*/ 598493 w 1236706"/>
                <a:gd name="connsiteY6" fmla="*/ 984683 h 1765949"/>
                <a:gd name="connsiteX7" fmla="*/ 415137 w 1236706"/>
                <a:gd name="connsiteY7" fmla="*/ 1376636 h 1765949"/>
                <a:gd name="connsiteX8" fmla="*/ 197681 w 1236706"/>
                <a:gd name="connsiteY8" fmla="*/ 1504938 h 1765949"/>
                <a:gd name="connsiteX9" fmla="*/ 265023 w 1236706"/>
                <a:gd name="connsiteY9" fmla="*/ 1643717 h 1765949"/>
                <a:gd name="connsiteX10" fmla="*/ 308266 w 1236706"/>
                <a:gd name="connsiteY10" fmla="*/ 1732871 h 1765949"/>
                <a:gd name="connsiteX11" fmla="*/ 324459 w 1236706"/>
                <a:gd name="connsiteY11" fmla="*/ 1765733 h 1765949"/>
                <a:gd name="connsiteX12" fmla="*/ 338270 w 1236706"/>
                <a:gd name="connsiteY12" fmla="*/ 1762494 h 1765949"/>
                <a:gd name="connsiteX13" fmla="*/ 371131 w 1236706"/>
                <a:gd name="connsiteY13" fmla="*/ 1753731 h 1765949"/>
                <a:gd name="connsiteX14" fmla="*/ 481526 w 1236706"/>
                <a:gd name="connsiteY14" fmla="*/ 1716965 h 1765949"/>
                <a:gd name="connsiteX15" fmla="*/ 806900 w 1236706"/>
                <a:gd name="connsiteY15" fmla="*/ 1542086 h 1765949"/>
                <a:gd name="connsiteX16" fmla="*/ 1115891 w 1236706"/>
                <a:gd name="connsiteY16" fmla="*/ 1192518 h 1765949"/>
                <a:gd name="connsiteX17" fmla="*/ 1207712 w 1236706"/>
                <a:gd name="connsiteY17" fmla="*/ 937629 h 1765949"/>
                <a:gd name="connsiteX18" fmla="*/ 1229715 w 1236706"/>
                <a:gd name="connsiteY18" fmla="*/ 567869 h 1765949"/>
                <a:gd name="connsiteX19" fmla="*/ 1212665 w 1236706"/>
                <a:gd name="connsiteY19" fmla="*/ 482048 h 176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6706" h="1765949">
                  <a:moveTo>
                    <a:pt x="1212665" y="482239"/>
                  </a:moveTo>
                  <a:cubicBezTo>
                    <a:pt x="1179232" y="321743"/>
                    <a:pt x="1071219" y="183725"/>
                    <a:pt x="933392" y="98000"/>
                  </a:cubicBezTo>
                  <a:cubicBezTo>
                    <a:pt x="771467" y="-2774"/>
                    <a:pt x="572871" y="-26301"/>
                    <a:pt x="391229" y="29611"/>
                  </a:cubicBezTo>
                  <a:cubicBezTo>
                    <a:pt x="241305" y="75807"/>
                    <a:pt x="107193" y="188678"/>
                    <a:pt x="41852" y="331839"/>
                  </a:cubicBezTo>
                  <a:cubicBezTo>
                    <a:pt x="-23490" y="475000"/>
                    <a:pt x="-12726" y="642354"/>
                    <a:pt x="76999" y="772275"/>
                  </a:cubicBezTo>
                  <a:cubicBezTo>
                    <a:pt x="129958" y="848951"/>
                    <a:pt x="204158" y="912674"/>
                    <a:pt x="291407" y="947249"/>
                  </a:cubicBezTo>
                  <a:cubicBezTo>
                    <a:pt x="387419" y="985254"/>
                    <a:pt x="496290" y="997732"/>
                    <a:pt x="598493" y="984683"/>
                  </a:cubicBezTo>
                  <a:cubicBezTo>
                    <a:pt x="608304" y="1133082"/>
                    <a:pt x="523912" y="1282244"/>
                    <a:pt x="415137" y="1376636"/>
                  </a:cubicBezTo>
                  <a:cubicBezTo>
                    <a:pt x="351129" y="1432167"/>
                    <a:pt x="276167" y="1473791"/>
                    <a:pt x="197681" y="1504938"/>
                  </a:cubicBezTo>
                  <a:cubicBezTo>
                    <a:pt x="220160" y="1551230"/>
                    <a:pt x="242544" y="1597521"/>
                    <a:pt x="265023" y="1643717"/>
                  </a:cubicBezTo>
                  <a:cubicBezTo>
                    <a:pt x="279406" y="1673435"/>
                    <a:pt x="293884" y="1703153"/>
                    <a:pt x="308266" y="1732871"/>
                  </a:cubicBezTo>
                  <a:cubicBezTo>
                    <a:pt x="311028" y="1738491"/>
                    <a:pt x="318553" y="1763161"/>
                    <a:pt x="324459" y="1765733"/>
                  </a:cubicBezTo>
                  <a:cubicBezTo>
                    <a:pt x="326935" y="1766876"/>
                    <a:pt x="335698" y="1763161"/>
                    <a:pt x="338270" y="1762494"/>
                  </a:cubicBezTo>
                  <a:cubicBezTo>
                    <a:pt x="349319" y="1759827"/>
                    <a:pt x="360273" y="1756874"/>
                    <a:pt x="371131" y="1753731"/>
                  </a:cubicBezTo>
                  <a:cubicBezTo>
                    <a:pt x="408469" y="1743158"/>
                    <a:pt x="445236" y="1730776"/>
                    <a:pt x="481526" y="1716965"/>
                  </a:cubicBezTo>
                  <a:cubicBezTo>
                    <a:pt x="596874" y="1673150"/>
                    <a:pt x="707268" y="1614952"/>
                    <a:pt x="806900" y="1542086"/>
                  </a:cubicBezTo>
                  <a:cubicBezTo>
                    <a:pt x="933582" y="1449407"/>
                    <a:pt x="1042072" y="1331583"/>
                    <a:pt x="1115891" y="1192518"/>
                  </a:cubicBezTo>
                  <a:cubicBezTo>
                    <a:pt x="1158373" y="1112413"/>
                    <a:pt x="1189043" y="1026307"/>
                    <a:pt x="1207712" y="937629"/>
                  </a:cubicBezTo>
                  <a:cubicBezTo>
                    <a:pt x="1232953" y="817709"/>
                    <a:pt x="1245526" y="689693"/>
                    <a:pt x="1229715" y="567869"/>
                  </a:cubicBezTo>
                  <a:cubicBezTo>
                    <a:pt x="1225905" y="538913"/>
                    <a:pt x="1220475" y="510147"/>
                    <a:pt x="1212665" y="482048"/>
                  </a:cubicBezTo>
                  <a:close/>
                </a:path>
              </a:pathLst>
            </a:custGeom>
            <a:grpFill/>
            <a:ln w="9525" cap="flat">
              <a:noFill/>
              <a:prstDash val="solid"/>
              <a:miter/>
            </a:ln>
          </p:spPr>
          <p:txBody>
            <a:bodyPr rtlCol="0" anchor="ctr"/>
            <a:lstStyle/>
            <a:p>
              <a:endParaRPr lang="en-US"/>
            </a:p>
          </p:txBody>
        </p:sp>
      </p:grpSp>
      <p:sp>
        <p:nvSpPr>
          <p:cNvPr id="15" name="Logotype, static">
            <a:extLst>
              <a:ext uri="{FF2B5EF4-FFF2-40B4-BE49-F238E27FC236}">
                <a16:creationId xmlns:a16="http://schemas.microsoft.com/office/drawing/2014/main" id="{ED491FC6-D7FC-0600-9C48-CD411A9E4887}"/>
              </a:ext>
            </a:extLst>
          </p:cNvPr>
          <p:cNvSpPr>
            <a:spLocks noChangeAspect="1"/>
          </p:cNvSpPr>
          <p:nvPr userDrawn="1"/>
        </p:nvSpPr>
        <p:spPr>
          <a:xfrm>
            <a:off x="10689559" y="6389370"/>
            <a:ext cx="864000" cy="180067"/>
          </a:xfrm>
          <a:custGeom>
            <a:avLst/>
            <a:gdLst>
              <a:gd name="connsiteX0" fmla="*/ 1189292 w 1295686"/>
              <a:gd name="connsiteY0" fmla="*/ 102299 h 270035"/>
              <a:gd name="connsiteX1" fmla="*/ 1128522 w 1295686"/>
              <a:gd name="connsiteY1" fmla="*/ 170593 h 270035"/>
              <a:gd name="connsiteX2" fmla="*/ 1181576 w 1295686"/>
              <a:gd name="connsiteY2" fmla="*/ 224219 h 270035"/>
              <a:gd name="connsiteX3" fmla="*/ 1250537 w 1295686"/>
              <a:gd name="connsiteY3" fmla="*/ 166688 h 270035"/>
              <a:gd name="connsiteX4" fmla="*/ 1250442 w 1295686"/>
              <a:gd name="connsiteY4" fmla="*/ 166688 h 270035"/>
              <a:gd name="connsiteX5" fmla="*/ 1250442 w 1295686"/>
              <a:gd name="connsiteY5" fmla="*/ 160306 h 270035"/>
              <a:gd name="connsiteX6" fmla="*/ 1189292 w 1295686"/>
              <a:gd name="connsiteY6" fmla="*/ 102299 h 270035"/>
              <a:gd name="connsiteX7" fmla="*/ 717519 w 1295686"/>
              <a:gd name="connsiteY7" fmla="*/ 102299 h 270035"/>
              <a:gd name="connsiteX8" fmla="*/ 656749 w 1295686"/>
              <a:gd name="connsiteY8" fmla="*/ 170593 h 270035"/>
              <a:gd name="connsiteX9" fmla="*/ 709803 w 1295686"/>
              <a:gd name="connsiteY9" fmla="*/ 224218 h 270035"/>
              <a:gd name="connsiteX10" fmla="*/ 778764 w 1295686"/>
              <a:gd name="connsiteY10" fmla="*/ 166687 h 270035"/>
              <a:gd name="connsiteX11" fmla="*/ 778669 w 1295686"/>
              <a:gd name="connsiteY11" fmla="*/ 166687 h 270035"/>
              <a:gd name="connsiteX12" fmla="*/ 778669 w 1295686"/>
              <a:gd name="connsiteY12" fmla="*/ 160306 h 270035"/>
              <a:gd name="connsiteX13" fmla="*/ 717519 w 1295686"/>
              <a:gd name="connsiteY13" fmla="*/ 102299 h 270035"/>
              <a:gd name="connsiteX14" fmla="*/ 366808 w 1295686"/>
              <a:gd name="connsiteY14" fmla="*/ 102299 h 270035"/>
              <a:gd name="connsiteX15" fmla="*/ 305657 w 1295686"/>
              <a:gd name="connsiteY15" fmla="*/ 163449 h 270035"/>
              <a:gd name="connsiteX16" fmla="*/ 366808 w 1295686"/>
              <a:gd name="connsiteY16" fmla="*/ 224600 h 270035"/>
              <a:gd name="connsiteX17" fmla="*/ 427958 w 1295686"/>
              <a:gd name="connsiteY17" fmla="*/ 163449 h 270035"/>
              <a:gd name="connsiteX18" fmla="*/ 366808 w 1295686"/>
              <a:gd name="connsiteY18" fmla="*/ 102299 h 270035"/>
              <a:gd name="connsiteX19" fmla="*/ 962039 w 1295686"/>
              <a:gd name="connsiteY19" fmla="*/ 96385 h 270035"/>
              <a:gd name="connsiteX20" fmla="*/ 938499 w 1295686"/>
              <a:gd name="connsiteY20" fmla="*/ 100585 h 270035"/>
              <a:gd name="connsiteX21" fmla="*/ 896779 w 1295686"/>
              <a:gd name="connsiteY21" fmla="*/ 159068 h 270035"/>
              <a:gd name="connsiteX22" fmla="*/ 896779 w 1295686"/>
              <a:gd name="connsiteY22" fmla="*/ 159164 h 270035"/>
              <a:gd name="connsiteX23" fmla="*/ 1011746 w 1295686"/>
              <a:gd name="connsiteY23" fmla="*/ 127541 h 270035"/>
              <a:gd name="connsiteX24" fmla="*/ 962039 w 1295686"/>
              <a:gd name="connsiteY24" fmla="*/ 96385 h 270035"/>
              <a:gd name="connsiteX25" fmla="*/ 1181005 w 1295686"/>
              <a:gd name="connsiteY25" fmla="*/ 57436 h 270035"/>
              <a:gd name="connsiteX26" fmla="*/ 1295686 w 1295686"/>
              <a:gd name="connsiteY26" fmla="*/ 165354 h 270035"/>
              <a:gd name="connsiteX27" fmla="*/ 1295686 w 1295686"/>
              <a:gd name="connsiteY27" fmla="*/ 266700 h 270035"/>
              <a:gd name="connsiteX28" fmla="*/ 1254538 w 1295686"/>
              <a:gd name="connsiteY28" fmla="*/ 266700 h 270035"/>
              <a:gd name="connsiteX29" fmla="*/ 1254538 w 1295686"/>
              <a:gd name="connsiteY29" fmla="*/ 235458 h 270035"/>
              <a:gd name="connsiteX30" fmla="*/ 1189292 w 1295686"/>
              <a:gd name="connsiteY30" fmla="*/ 269558 h 270035"/>
              <a:gd name="connsiteX31" fmla="*/ 1083278 w 1295686"/>
              <a:gd name="connsiteY31" fmla="*/ 156591 h 270035"/>
              <a:gd name="connsiteX32" fmla="*/ 1181005 w 1295686"/>
              <a:gd name="connsiteY32" fmla="*/ 57531 h 270035"/>
              <a:gd name="connsiteX33" fmla="*/ 956311 w 1295686"/>
              <a:gd name="connsiteY33" fmla="*/ 57246 h 270035"/>
              <a:gd name="connsiteX34" fmla="*/ 956311 w 1295686"/>
              <a:gd name="connsiteY34" fmla="*/ 57341 h 270035"/>
              <a:gd name="connsiteX35" fmla="*/ 1064134 w 1295686"/>
              <a:gd name="connsiteY35" fmla="*/ 151924 h 270035"/>
              <a:gd name="connsiteX36" fmla="*/ 904876 w 1295686"/>
              <a:gd name="connsiteY36" fmla="*/ 195359 h 270035"/>
              <a:gd name="connsiteX37" fmla="*/ 970503 w 1295686"/>
              <a:gd name="connsiteY37" fmla="*/ 227172 h 270035"/>
              <a:gd name="connsiteX38" fmla="*/ 1016413 w 1295686"/>
              <a:gd name="connsiteY38" fmla="*/ 191930 h 270035"/>
              <a:gd name="connsiteX39" fmla="*/ 1057371 w 1295686"/>
              <a:gd name="connsiteY39" fmla="*/ 204121 h 270035"/>
              <a:gd name="connsiteX40" fmla="*/ 958787 w 1295686"/>
              <a:gd name="connsiteY40" fmla="*/ 270035 h 270035"/>
              <a:gd name="connsiteX41" fmla="*/ 852488 w 1295686"/>
              <a:gd name="connsiteY41" fmla="*/ 164593 h 270035"/>
              <a:gd name="connsiteX42" fmla="*/ 956311 w 1295686"/>
              <a:gd name="connsiteY42" fmla="*/ 57246 h 270035"/>
              <a:gd name="connsiteX43" fmla="*/ 366903 w 1295686"/>
              <a:gd name="connsiteY43" fmla="*/ 57055 h 270035"/>
              <a:gd name="connsiteX44" fmla="*/ 473298 w 1295686"/>
              <a:gd name="connsiteY44" fmla="*/ 163449 h 270035"/>
              <a:gd name="connsiteX45" fmla="*/ 366903 w 1295686"/>
              <a:gd name="connsiteY45" fmla="*/ 269844 h 270035"/>
              <a:gd name="connsiteX46" fmla="*/ 260509 w 1295686"/>
              <a:gd name="connsiteY46" fmla="*/ 163449 h 270035"/>
              <a:gd name="connsiteX47" fmla="*/ 366903 w 1295686"/>
              <a:gd name="connsiteY47" fmla="*/ 57055 h 270035"/>
              <a:gd name="connsiteX48" fmla="*/ 605885 w 1295686"/>
              <a:gd name="connsiteY48" fmla="*/ 56769 h 270035"/>
              <a:gd name="connsiteX49" fmla="*/ 605885 w 1295686"/>
              <a:gd name="connsiteY49" fmla="*/ 100393 h 270035"/>
              <a:gd name="connsiteX50" fmla="*/ 605981 w 1295686"/>
              <a:gd name="connsiteY50" fmla="*/ 100393 h 270035"/>
              <a:gd name="connsiteX51" fmla="*/ 547307 w 1295686"/>
              <a:gd name="connsiteY51" fmla="*/ 167164 h 270035"/>
              <a:gd name="connsiteX52" fmla="*/ 547402 w 1295686"/>
              <a:gd name="connsiteY52" fmla="*/ 266795 h 270035"/>
              <a:gd name="connsiteX53" fmla="*/ 500920 w 1295686"/>
              <a:gd name="connsiteY53" fmla="*/ 266795 h 270035"/>
              <a:gd name="connsiteX54" fmla="*/ 500920 w 1295686"/>
              <a:gd name="connsiteY54" fmla="*/ 63722 h 270035"/>
              <a:gd name="connsiteX55" fmla="*/ 546164 w 1295686"/>
              <a:gd name="connsiteY55" fmla="*/ 63722 h 270035"/>
              <a:gd name="connsiteX56" fmla="*/ 546164 w 1295686"/>
              <a:gd name="connsiteY56" fmla="*/ 87154 h 270035"/>
              <a:gd name="connsiteX57" fmla="*/ 605885 w 1295686"/>
              <a:gd name="connsiteY57" fmla="*/ 56769 h 270035"/>
              <a:gd name="connsiteX58" fmla="*/ 0 w 1295686"/>
              <a:gd name="connsiteY58" fmla="*/ 21622 h 270035"/>
              <a:gd name="connsiteX59" fmla="*/ 47339 w 1295686"/>
              <a:gd name="connsiteY59" fmla="*/ 21622 h 270035"/>
              <a:gd name="connsiteX60" fmla="*/ 186214 w 1295686"/>
              <a:gd name="connsiteY60" fmla="*/ 185166 h 270035"/>
              <a:gd name="connsiteX61" fmla="*/ 186214 w 1295686"/>
              <a:gd name="connsiteY61" fmla="*/ 21622 h 270035"/>
              <a:gd name="connsiteX62" fmla="*/ 233077 w 1295686"/>
              <a:gd name="connsiteY62" fmla="*/ 21622 h 270035"/>
              <a:gd name="connsiteX63" fmla="*/ 232982 w 1295686"/>
              <a:gd name="connsiteY63" fmla="*/ 266700 h 270035"/>
              <a:gd name="connsiteX64" fmla="*/ 189548 w 1295686"/>
              <a:gd name="connsiteY64" fmla="*/ 266700 h 270035"/>
              <a:gd name="connsiteX65" fmla="*/ 48959 w 1295686"/>
              <a:gd name="connsiteY65" fmla="*/ 102680 h 270035"/>
              <a:gd name="connsiteX66" fmla="*/ 48959 w 1295686"/>
              <a:gd name="connsiteY66" fmla="*/ 266414 h 270035"/>
              <a:gd name="connsiteX67" fmla="*/ 0 w 1295686"/>
              <a:gd name="connsiteY67" fmla="*/ 266414 h 270035"/>
              <a:gd name="connsiteX68" fmla="*/ 780098 w 1295686"/>
              <a:gd name="connsiteY68" fmla="*/ 0 h 270035"/>
              <a:gd name="connsiteX69" fmla="*/ 823722 w 1295686"/>
              <a:gd name="connsiteY69" fmla="*/ 0 h 270035"/>
              <a:gd name="connsiteX70" fmla="*/ 823722 w 1295686"/>
              <a:gd name="connsiteY70" fmla="*/ 161449 h 270035"/>
              <a:gd name="connsiteX71" fmla="*/ 823722 w 1295686"/>
              <a:gd name="connsiteY71" fmla="*/ 163449 h 270035"/>
              <a:gd name="connsiteX72" fmla="*/ 823722 w 1295686"/>
              <a:gd name="connsiteY72" fmla="*/ 165449 h 270035"/>
              <a:gd name="connsiteX73" fmla="*/ 823722 w 1295686"/>
              <a:gd name="connsiteY73" fmla="*/ 266795 h 270035"/>
              <a:gd name="connsiteX74" fmla="*/ 782765 w 1295686"/>
              <a:gd name="connsiteY74" fmla="*/ 266795 h 270035"/>
              <a:gd name="connsiteX75" fmla="*/ 782765 w 1295686"/>
              <a:gd name="connsiteY75" fmla="*/ 239649 h 270035"/>
              <a:gd name="connsiteX76" fmla="*/ 717519 w 1295686"/>
              <a:gd name="connsiteY76" fmla="*/ 269748 h 270035"/>
              <a:gd name="connsiteX77" fmla="*/ 611505 w 1295686"/>
              <a:gd name="connsiteY77" fmla="*/ 156591 h 270035"/>
              <a:gd name="connsiteX78" fmla="*/ 709232 w 1295686"/>
              <a:gd name="connsiteY78" fmla="*/ 57531 h 270035"/>
              <a:gd name="connsiteX79" fmla="*/ 780098 w 1295686"/>
              <a:gd name="connsiteY79" fmla="*/ 79819 h 27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95686" h="270035">
                <a:moveTo>
                  <a:pt x="1189292" y="102299"/>
                </a:moveTo>
                <a:cubicBezTo>
                  <a:pt x="1153192" y="102299"/>
                  <a:pt x="1124426" y="133636"/>
                  <a:pt x="1128522" y="170593"/>
                </a:cubicBezTo>
                <a:cubicBezTo>
                  <a:pt x="1131665" y="198215"/>
                  <a:pt x="1153859" y="220790"/>
                  <a:pt x="1181576" y="224219"/>
                </a:cubicBezTo>
                <a:cubicBezTo>
                  <a:pt x="1217771" y="228695"/>
                  <a:pt x="1248728" y="201549"/>
                  <a:pt x="1250537" y="166688"/>
                </a:cubicBezTo>
                <a:lnTo>
                  <a:pt x="1250442" y="166688"/>
                </a:lnTo>
                <a:lnTo>
                  <a:pt x="1250442" y="160306"/>
                </a:lnTo>
                <a:cubicBezTo>
                  <a:pt x="1248728" y="128016"/>
                  <a:pt x="1222058" y="102299"/>
                  <a:pt x="1189292" y="102299"/>
                </a:cubicBezTo>
                <a:close/>
                <a:moveTo>
                  <a:pt x="717519" y="102299"/>
                </a:moveTo>
                <a:cubicBezTo>
                  <a:pt x="681419" y="102299"/>
                  <a:pt x="652653" y="133636"/>
                  <a:pt x="656749" y="170593"/>
                </a:cubicBezTo>
                <a:cubicBezTo>
                  <a:pt x="659892" y="198215"/>
                  <a:pt x="682086" y="220789"/>
                  <a:pt x="709803" y="224218"/>
                </a:cubicBezTo>
                <a:cubicBezTo>
                  <a:pt x="745998" y="228695"/>
                  <a:pt x="776955" y="201549"/>
                  <a:pt x="778764" y="166687"/>
                </a:cubicBezTo>
                <a:lnTo>
                  <a:pt x="778669" y="166687"/>
                </a:lnTo>
                <a:lnTo>
                  <a:pt x="778669" y="160306"/>
                </a:lnTo>
                <a:cubicBezTo>
                  <a:pt x="776955" y="128016"/>
                  <a:pt x="750285" y="102299"/>
                  <a:pt x="717519" y="102299"/>
                </a:cubicBezTo>
                <a:close/>
                <a:moveTo>
                  <a:pt x="366808" y="102299"/>
                </a:moveTo>
                <a:cubicBezTo>
                  <a:pt x="333089" y="102299"/>
                  <a:pt x="305657" y="129731"/>
                  <a:pt x="305657" y="163449"/>
                </a:cubicBezTo>
                <a:cubicBezTo>
                  <a:pt x="305657" y="197168"/>
                  <a:pt x="332994" y="224600"/>
                  <a:pt x="366808" y="224600"/>
                </a:cubicBezTo>
                <a:cubicBezTo>
                  <a:pt x="400527" y="224600"/>
                  <a:pt x="427958" y="197168"/>
                  <a:pt x="427958" y="163449"/>
                </a:cubicBezTo>
                <a:cubicBezTo>
                  <a:pt x="427958" y="129731"/>
                  <a:pt x="400527" y="102299"/>
                  <a:pt x="366808" y="102299"/>
                </a:cubicBezTo>
                <a:close/>
                <a:moveTo>
                  <a:pt x="962039" y="96385"/>
                </a:moveTo>
                <a:cubicBezTo>
                  <a:pt x="954578" y="96227"/>
                  <a:pt x="946666" y="97513"/>
                  <a:pt x="938499" y="100585"/>
                </a:cubicBezTo>
                <a:cubicBezTo>
                  <a:pt x="909733" y="111348"/>
                  <a:pt x="896779" y="136875"/>
                  <a:pt x="896779" y="159068"/>
                </a:cubicBezTo>
                <a:lnTo>
                  <a:pt x="896779" y="159164"/>
                </a:lnTo>
                <a:lnTo>
                  <a:pt x="1011746" y="127541"/>
                </a:lnTo>
                <a:cubicBezTo>
                  <a:pt x="1002744" y="110324"/>
                  <a:pt x="984421" y="96858"/>
                  <a:pt x="962039" y="96385"/>
                </a:cubicBezTo>
                <a:close/>
                <a:moveTo>
                  <a:pt x="1181005" y="57436"/>
                </a:moveTo>
                <a:cubicBezTo>
                  <a:pt x="1242060" y="52673"/>
                  <a:pt x="1295686" y="99346"/>
                  <a:pt x="1295686" y="165354"/>
                </a:cubicBezTo>
                <a:lnTo>
                  <a:pt x="1295686" y="266700"/>
                </a:lnTo>
                <a:lnTo>
                  <a:pt x="1254538" y="266700"/>
                </a:lnTo>
                <a:lnTo>
                  <a:pt x="1254538" y="235458"/>
                </a:lnTo>
                <a:cubicBezTo>
                  <a:pt x="1241108" y="258604"/>
                  <a:pt x="1211295" y="269558"/>
                  <a:pt x="1189292" y="269558"/>
                </a:cubicBezTo>
                <a:cubicBezTo>
                  <a:pt x="1128332" y="269558"/>
                  <a:pt x="1079373" y="218408"/>
                  <a:pt x="1083278" y="156591"/>
                </a:cubicBezTo>
                <a:cubicBezTo>
                  <a:pt x="1086612" y="104299"/>
                  <a:pt x="1128236" y="61627"/>
                  <a:pt x="1181005" y="57531"/>
                </a:cubicBezTo>
                <a:close/>
                <a:moveTo>
                  <a:pt x="956311" y="57246"/>
                </a:moveTo>
                <a:lnTo>
                  <a:pt x="956311" y="57341"/>
                </a:lnTo>
                <a:cubicBezTo>
                  <a:pt x="1023557" y="55436"/>
                  <a:pt x="1059466" y="111062"/>
                  <a:pt x="1064134" y="151924"/>
                </a:cubicBezTo>
                <a:lnTo>
                  <a:pt x="904876" y="195359"/>
                </a:lnTo>
                <a:cubicBezTo>
                  <a:pt x="915258" y="214980"/>
                  <a:pt x="941737" y="232506"/>
                  <a:pt x="970503" y="227172"/>
                </a:cubicBezTo>
                <a:cubicBezTo>
                  <a:pt x="991077" y="223267"/>
                  <a:pt x="1008984" y="208693"/>
                  <a:pt x="1016413" y="191930"/>
                </a:cubicBezTo>
                <a:lnTo>
                  <a:pt x="1057371" y="204121"/>
                </a:lnTo>
                <a:cubicBezTo>
                  <a:pt x="1041274" y="244889"/>
                  <a:pt x="1000507" y="270035"/>
                  <a:pt x="958787" y="270035"/>
                </a:cubicBezTo>
                <a:cubicBezTo>
                  <a:pt x="898970" y="270035"/>
                  <a:pt x="852488" y="222029"/>
                  <a:pt x="852488" y="164593"/>
                </a:cubicBezTo>
                <a:cubicBezTo>
                  <a:pt x="852488" y="102299"/>
                  <a:pt x="900494" y="58770"/>
                  <a:pt x="956311" y="57246"/>
                </a:cubicBezTo>
                <a:close/>
                <a:moveTo>
                  <a:pt x="366903" y="57055"/>
                </a:moveTo>
                <a:cubicBezTo>
                  <a:pt x="425673" y="57055"/>
                  <a:pt x="473298" y="104680"/>
                  <a:pt x="473298" y="163449"/>
                </a:cubicBezTo>
                <a:cubicBezTo>
                  <a:pt x="473298" y="222219"/>
                  <a:pt x="425673" y="269844"/>
                  <a:pt x="366903" y="269844"/>
                </a:cubicBezTo>
                <a:cubicBezTo>
                  <a:pt x="308134" y="269844"/>
                  <a:pt x="260509" y="222219"/>
                  <a:pt x="260509" y="163449"/>
                </a:cubicBezTo>
                <a:cubicBezTo>
                  <a:pt x="260509" y="104680"/>
                  <a:pt x="308134" y="57055"/>
                  <a:pt x="366903" y="57055"/>
                </a:cubicBezTo>
                <a:close/>
                <a:moveTo>
                  <a:pt x="605885" y="56769"/>
                </a:moveTo>
                <a:lnTo>
                  <a:pt x="605885" y="100393"/>
                </a:lnTo>
                <a:lnTo>
                  <a:pt x="605981" y="100393"/>
                </a:lnTo>
                <a:cubicBezTo>
                  <a:pt x="574453" y="102013"/>
                  <a:pt x="547307" y="120301"/>
                  <a:pt x="547307" y="167164"/>
                </a:cubicBezTo>
                <a:cubicBezTo>
                  <a:pt x="547307" y="205073"/>
                  <a:pt x="547402" y="204025"/>
                  <a:pt x="547402" y="266795"/>
                </a:cubicBezTo>
                <a:lnTo>
                  <a:pt x="500920" y="266795"/>
                </a:lnTo>
                <a:lnTo>
                  <a:pt x="500920" y="63722"/>
                </a:lnTo>
                <a:lnTo>
                  <a:pt x="546164" y="63722"/>
                </a:lnTo>
                <a:lnTo>
                  <a:pt x="546164" y="87154"/>
                </a:lnTo>
                <a:cubicBezTo>
                  <a:pt x="552069" y="76295"/>
                  <a:pt x="566166" y="56769"/>
                  <a:pt x="605885" y="56769"/>
                </a:cubicBezTo>
                <a:close/>
                <a:moveTo>
                  <a:pt x="0" y="21622"/>
                </a:moveTo>
                <a:lnTo>
                  <a:pt x="47339" y="21622"/>
                </a:lnTo>
                <a:lnTo>
                  <a:pt x="186214" y="185166"/>
                </a:lnTo>
                <a:lnTo>
                  <a:pt x="186214" y="21622"/>
                </a:lnTo>
                <a:lnTo>
                  <a:pt x="233077" y="21622"/>
                </a:lnTo>
                <a:lnTo>
                  <a:pt x="232982" y="266700"/>
                </a:lnTo>
                <a:lnTo>
                  <a:pt x="189548" y="266700"/>
                </a:lnTo>
                <a:lnTo>
                  <a:pt x="48959" y="102680"/>
                </a:lnTo>
                <a:lnTo>
                  <a:pt x="48959" y="266414"/>
                </a:lnTo>
                <a:lnTo>
                  <a:pt x="0" y="266414"/>
                </a:lnTo>
                <a:close/>
                <a:moveTo>
                  <a:pt x="780098" y="0"/>
                </a:moveTo>
                <a:lnTo>
                  <a:pt x="823722" y="0"/>
                </a:lnTo>
                <a:lnTo>
                  <a:pt x="823722" y="161449"/>
                </a:lnTo>
                <a:cubicBezTo>
                  <a:pt x="823722" y="162115"/>
                  <a:pt x="823722" y="162782"/>
                  <a:pt x="823722" y="163449"/>
                </a:cubicBezTo>
                <a:cubicBezTo>
                  <a:pt x="823722" y="164116"/>
                  <a:pt x="823722" y="164783"/>
                  <a:pt x="823722" y="165449"/>
                </a:cubicBezTo>
                <a:lnTo>
                  <a:pt x="823722" y="266795"/>
                </a:lnTo>
                <a:cubicBezTo>
                  <a:pt x="823722" y="266795"/>
                  <a:pt x="782765" y="266795"/>
                  <a:pt x="782765" y="266795"/>
                </a:cubicBezTo>
                <a:lnTo>
                  <a:pt x="782765" y="239649"/>
                </a:lnTo>
                <a:cubicBezTo>
                  <a:pt x="771906" y="258889"/>
                  <a:pt x="740283" y="269748"/>
                  <a:pt x="717519" y="269748"/>
                </a:cubicBezTo>
                <a:cubicBezTo>
                  <a:pt x="656559" y="269748"/>
                  <a:pt x="607600" y="218408"/>
                  <a:pt x="611505" y="156591"/>
                </a:cubicBezTo>
                <a:cubicBezTo>
                  <a:pt x="614839" y="104299"/>
                  <a:pt x="656940" y="61722"/>
                  <a:pt x="709232" y="57531"/>
                </a:cubicBezTo>
                <a:cubicBezTo>
                  <a:pt x="737235" y="55245"/>
                  <a:pt x="769716" y="66104"/>
                  <a:pt x="780098" y="79819"/>
                </a:cubicBezTo>
                <a:close/>
              </a:path>
            </a:pathLst>
          </a:custGeom>
          <a:solidFill>
            <a:schemeClr val="bg1"/>
          </a:soli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37786802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5436000" cy="1301642"/>
          </a:xfrm>
        </p:spPr>
        <p:txBody>
          <a:bodyPr/>
          <a:lstStyle>
            <a:lvl1pPr>
              <a:defRPr sz="4000">
                <a:solidFill>
                  <a:srgbClr val="FBD9CA"/>
                </a:solidFill>
              </a:defRPr>
            </a:lvl1pPr>
          </a:lstStyle>
          <a:p>
            <a:r>
              <a:rPr lang="en-GB"/>
              <a:t>Click to edit Master title style</a:t>
            </a:r>
            <a:endParaRPr lang="en-GB" dirty="0"/>
          </a:p>
        </p:txBody>
      </p:sp>
      <p:sp>
        <p:nvSpPr>
          <p:cNvPr id="3" name="Subtitle 2"/>
          <p:cNvSpPr>
            <a:spLocks noGrp="1"/>
          </p:cNvSpPr>
          <p:nvPr>
            <p:ph type="subTitle" idx="1"/>
          </p:nvPr>
        </p:nvSpPr>
        <p:spPr>
          <a:xfrm>
            <a:off x="648000" y="2761403"/>
            <a:ext cx="5436000" cy="1080000"/>
          </a:xfrm>
        </p:spPr>
        <p:txBody>
          <a:bodyPr/>
          <a:lstStyle>
            <a:lvl1pPr marL="0" indent="0" algn="l">
              <a:spcBef>
                <a:spcPts val="0"/>
              </a:spcBef>
              <a:buNone/>
              <a:defRPr sz="2000" b="1">
                <a:solidFill>
                  <a:srgbClr val="FFFFFF"/>
                </a:solidFill>
                <a:latin typeface="+mj-lt"/>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6" name="Text Placeholder 5"/>
          <p:cNvSpPr>
            <a:spLocks noGrp="1"/>
          </p:cNvSpPr>
          <p:nvPr>
            <p:ph type="body" sz="quarter" idx="10" hasCustomPrompt="1"/>
          </p:nvPr>
        </p:nvSpPr>
        <p:spPr>
          <a:xfrm>
            <a:off x="648000" y="4299045"/>
            <a:ext cx="5436000" cy="825689"/>
          </a:xfrm>
        </p:spPr>
        <p:txBody>
          <a:bodyPr>
            <a:noAutofit/>
          </a:bodyPr>
          <a:lstStyle>
            <a:lvl1pPr marL="0" indent="0">
              <a:spcBef>
                <a:spcPts val="0"/>
              </a:spcBef>
              <a:buNone/>
              <a:defRPr sz="105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endParaRPr lang="en-GB" dirty="0"/>
          </a:p>
        </p:txBody>
      </p:sp>
      <p:grpSp>
        <p:nvGrpSpPr>
          <p:cNvPr id="16" name="Pulse"/>
          <p:cNvGrpSpPr/>
          <p:nvPr userDrawn="1"/>
        </p:nvGrpSpPr>
        <p:grpSpPr>
          <a:xfrm>
            <a:off x="9557448" y="3630308"/>
            <a:ext cx="2640901" cy="2674962"/>
            <a:chOff x="8751888" y="3030538"/>
            <a:chExt cx="3446462" cy="3490913"/>
          </a:xfrm>
          <a:solidFill>
            <a:schemeClr val="bg2"/>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Logotype">
            <a:extLst>
              <a:ext uri="{FF2B5EF4-FFF2-40B4-BE49-F238E27FC236}">
                <a16:creationId xmlns:a16="http://schemas.microsoft.com/office/drawing/2014/main" id="{BC9B11D0-BD76-870A-786F-3ACEE61F6F86}"/>
              </a:ext>
            </a:extLst>
          </p:cNvPr>
          <p:cNvSpPr>
            <a:spLocks noChangeAspect="1"/>
          </p:cNvSpPr>
          <p:nvPr userDrawn="1"/>
        </p:nvSpPr>
        <p:spPr>
          <a:xfrm>
            <a:off x="641350" y="530890"/>
            <a:ext cx="1386000" cy="288857"/>
          </a:xfrm>
          <a:custGeom>
            <a:avLst/>
            <a:gdLst>
              <a:gd name="connsiteX0" fmla="*/ 1189292 w 1295686"/>
              <a:gd name="connsiteY0" fmla="*/ 102299 h 270035"/>
              <a:gd name="connsiteX1" fmla="*/ 1128522 w 1295686"/>
              <a:gd name="connsiteY1" fmla="*/ 170593 h 270035"/>
              <a:gd name="connsiteX2" fmla="*/ 1181576 w 1295686"/>
              <a:gd name="connsiteY2" fmla="*/ 224219 h 270035"/>
              <a:gd name="connsiteX3" fmla="*/ 1250537 w 1295686"/>
              <a:gd name="connsiteY3" fmla="*/ 166688 h 270035"/>
              <a:gd name="connsiteX4" fmla="*/ 1250442 w 1295686"/>
              <a:gd name="connsiteY4" fmla="*/ 166688 h 270035"/>
              <a:gd name="connsiteX5" fmla="*/ 1250442 w 1295686"/>
              <a:gd name="connsiteY5" fmla="*/ 160306 h 270035"/>
              <a:gd name="connsiteX6" fmla="*/ 1189292 w 1295686"/>
              <a:gd name="connsiteY6" fmla="*/ 102299 h 270035"/>
              <a:gd name="connsiteX7" fmla="*/ 717519 w 1295686"/>
              <a:gd name="connsiteY7" fmla="*/ 102299 h 270035"/>
              <a:gd name="connsiteX8" fmla="*/ 656749 w 1295686"/>
              <a:gd name="connsiteY8" fmla="*/ 170593 h 270035"/>
              <a:gd name="connsiteX9" fmla="*/ 709803 w 1295686"/>
              <a:gd name="connsiteY9" fmla="*/ 224218 h 270035"/>
              <a:gd name="connsiteX10" fmla="*/ 778764 w 1295686"/>
              <a:gd name="connsiteY10" fmla="*/ 166687 h 270035"/>
              <a:gd name="connsiteX11" fmla="*/ 778669 w 1295686"/>
              <a:gd name="connsiteY11" fmla="*/ 166687 h 270035"/>
              <a:gd name="connsiteX12" fmla="*/ 778669 w 1295686"/>
              <a:gd name="connsiteY12" fmla="*/ 160306 h 270035"/>
              <a:gd name="connsiteX13" fmla="*/ 717519 w 1295686"/>
              <a:gd name="connsiteY13" fmla="*/ 102299 h 270035"/>
              <a:gd name="connsiteX14" fmla="*/ 366808 w 1295686"/>
              <a:gd name="connsiteY14" fmla="*/ 102299 h 270035"/>
              <a:gd name="connsiteX15" fmla="*/ 305657 w 1295686"/>
              <a:gd name="connsiteY15" fmla="*/ 163449 h 270035"/>
              <a:gd name="connsiteX16" fmla="*/ 366808 w 1295686"/>
              <a:gd name="connsiteY16" fmla="*/ 224600 h 270035"/>
              <a:gd name="connsiteX17" fmla="*/ 427958 w 1295686"/>
              <a:gd name="connsiteY17" fmla="*/ 163449 h 270035"/>
              <a:gd name="connsiteX18" fmla="*/ 366808 w 1295686"/>
              <a:gd name="connsiteY18" fmla="*/ 102299 h 270035"/>
              <a:gd name="connsiteX19" fmla="*/ 962039 w 1295686"/>
              <a:gd name="connsiteY19" fmla="*/ 96385 h 270035"/>
              <a:gd name="connsiteX20" fmla="*/ 938499 w 1295686"/>
              <a:gd name="connsiteY20" fmla="*/ 100585 h 270035"/>
              <a:gd name="connsiteX21" fmla="*/ 896779 w 1295686"/>
              <a:gd name="connsiteY21" fmla="*/ 159068 h 270035"/>
              <a:gd name="connsiteX22" fmla="*/ 896779 w 1295686"/>
              <a:gd name="connsiteY22" fmla="*/ 159164 h 270035"/>
              <a:gd name="connsiteX23" fmla="*/ 1011746 w 1295686"/>
              <a:gd name="connsiteY23" fmla="*/ 127541 h 270035"/>
              <a:gd name="connsiteX24" fmla="*/ 962039 w 1295686"/>
              <a:gd name="connsiteY24" fmla="*/ 96385 h 270035"/>
              <a:gd name="connsiteX25" fmla="*/ 1181005 w 1295686"/>
              <a:gd name="connsiteY25" fmla="*/ 57436 h 270035"/>
              <a:gd name="connsiteX26" fmla="*/ 1295686 w 1295686"/>
              <a:gd name="connsiteY26" fmla="*/ 165354 h 270035"/>
              <a:gd name="connsiteX27" fmla="*/ 1295686 w 1295686"/>
              <a:gd name="connsiteY27" fmla="*/ 266700 h 270035"/>
              <a:gd name="connsiteX28" fmla="*/ 1254538 w 1295686"/>
              <a:gd name="connsiteY28" fmla="*/ 266700 h 270035"/>
              <a:gd name="connsiteX29" fmla="*/ 1254538 w 1295686"/>
              <a:gd name="connsiteY29" fmla="*/ 235458 h 270035"/>
              <a:gd name="connsiteX30" fmla="*/ 1189292 w 1295686"/>
              <a:gd name="connsiteY30" fmla="*/ 269558 h 270035"/>
              <a:gd name="connsiteX31" fmla="*/ 1083278 w 1295686"/>
              <a:gd name="connsiteY31" fmla="*/ 156591 h 270035"/>
              <a:gd name="connsiteX32" fmla="*/ 1181005 w 1295686"/>
              <a:gd name="connsiteY32" fmla="*/ 57531 h 270035"/>
              <a:gd name="connsiteX33" fmla="*/ 956311 w 1295686"/>
              <a:gd name="connsiteY33" fmla="*/ 57246 h 270035"/>
              <a:gd name="connsiteX34" fmla="*/ 956311 w 1295686"/>
              <a:gd name="connsiteY34" fmla="*/ 57341 h 270035"/>
              <a:gd name="connsiteX35" fmla="*/ 1064134 w 1295686"/>
              <a:gd name="connsiteY35" fmla="*/ 151924 h 270035"/>
              <a:gd name="connsiteX36" fmla="*/ 904876 w 1295686"/>
              <a:gd name="connsiteY36" fmla="*/ 195359 h 270035"/>
              <a:gd name="connsiteX37" fmla="*/ 970503 w 1295686"/>
              <a:gd name="connsiteY37" fmla="*/ 227172 h 270035"/>
              <a:gd name="connsiteX38" fmla="*/ 1016413 w 1295686"/>
              <a:gd name="connsiteY38" fmla="*/ 191930 h 270035"/>
              <a:gd name="connsiteX39" fmla="*/ 1057371 w 1295686"/>
              <a:gd name="connsiteY39" fmla="*/ 204121 h 270035"/>
              <a:gd name="connsiteX40" fmla="*/ 958787 w 1295686"/>
              <a:gd name="connsiteY40" fmla="*/ 270035 h 270035"/>
              <a:gd name="connsiteX41" fmla="*/ 852488 w 1295686"/>
              <a:gd name="connsiteY41" fmla="*/ 164593 h 270035"/>
              <a:gd name="connsiteX42" fmla="*/ 956311 w 1295686"/>
              <a:gd name="connsiteY42" fmla="*/ 57246 h 270035"/>
              <a:gd name="connsiteX43" fmla="*/ 366903 w 1295686"/>
              <a:gd name="connsiteY43" fmla="*/ 57055 h 270035"/>
              <a:gd name="connsiteX44" fmla="*/ 473298 w 1295686"/>
              <a:gd name="connsiteY44" fmla="*/ 163449 h 270035"/>
              <a:gd name="connsiteX45" fmla="*/ 366903 w 1295686"/>
              <a:gd name="connsiteY45" fmla="*/ 269844 h 270035"/>
              <a:gd name="connsiteX46" fmla="*/ 260509 w 1295686"/>
              <a:gd name="connsiteY46" fmla="*/ 163449 h 270035"/>
              <a:gd name="connsiteX47" fmla="*/ 366903 w 1295686"/>
              <a:gd name="connsiteY47" fmla="*/ 57055 h 270035"/>
              <a:gd name="connsiteX48" fmla="*/ 605885 w 1295686"/>
              <a:gd name="connsiteY48" fmla="*/ 56769 h 270035"/>
              <a:gd name="connsiteX49" fmla="*/ 605885 w 1295686"/>
              <a:gd name="connsiteY49" fmla="*/ 100393 h 270035"/>
              <a:gd name="connsiteX50" fmla="*/ 605981 w 1295686"/>
              <a:gd name="connsiteY50" fmla="*/ 100393 h 270035"/>
              <a:gd name="connsiteX51" fmla="*/ 547307 w 1295686"/>
              <a:gd name="connsiteY51" fmla="*/ 167164 h 270035"/>
              <a:gd name="connsiteX52" fmla="*/ 547402 w 1295686"/>
              <a:gd name="connsiteY52" fmla="*/ 266795 h 270035"/>
              <a:gd name="connsiteX53" fmla="*/ 500920 w 1295686"/>
              <a:gd name="connsiteY53" fmla="*/ 266795 h 270035"/>
              <a:gd name="connsiteX54" fmla="*/ 500920 w 1295686"/>
              <a:gd name="connsiteY54" fmla="*/ 63722 h 270035"/>
              <a:gd name="connsiteX55" fmla="*/ 546164 w 1295686"/>
              <a:gd name="connsiteY55" fmla="*/ 63722 h 270035"/>
              <a:gd name="connsiteX56" fmla="*/ 546164 w 1295686"/>
              <a:gd name="connsiteY56" fmla="*/ 87154 h 270035"/>
              <a:gd name="connsiteX57" fmla="*/ 605885 w 1295686"/>
              <a:gd name="connsiteY57" fmla="*/ 56769 h 270035"/>
              <a:gd name="connsiteX58" fmla="*/ 0 w 1295686"/>
              <a:gd name="connsiteY58" fmla="*/ 21622 h 270035"/>
              <a:gd name="connsiteX59" fmla="*/ 47339 w 1295686"/>
              <a:gd name="connsiteY59" fmla="*/ 21622 h 270035"/>
              <a:gd name="connsiteX60" fmla="*/ 186214 w 1295686"/>
              <a:gd name="connsiteY60" fmla="*/ 185166 h 270035"/>
              <a:gd name="connsiteX61" fmla="*/ 186214 w 1295686"/>
              <a:gd name="connsiteY61" fmla="*/ 21622 h 270035"/>
              <a:gd name="connsiteX62" fmla="*/ 233077 w 1295686"/>
              <a:gd name="connsiteY62" fmla="*/ 21622 h 270035"/>
              <a:gd name="connsiteX63" fmla="*/ 232982 w 1295686"/>
              <a:gd name="connsiteY63" fmla="*/ 266700 h 270035"/>
              <a:gd name="connsiteX64" fmla="*/ 189548 w 1295686"/>
              <a:gd name="connsiteY64" fmla="*/ 266700 h 270035"/>
              <a:gd name="connsiteX65" fmla="*/ 48959 w 1295686"/>
              <a:gd name="connsiteY65" fmla="*/ 102680 h 270035"/>
              <a:gd name="connsiteX66" fmla="*/ 48959 w 1295686"/>
              <a:gd name="connsiteY66" fmla="*/ 266414 h 270035"/>
              <a:gd name="connsiteX67" fmla="*/ 0 w 1295686"/>
              <a:gd name="connsiteY67" fmla="*/ 266414 h 270035"/>
              <a:gd name="connsiteX68" fmla="*/ 780098 w 1295686"/>
              <a:gd name="connsiteY68" fmla="*/ 0 h 270035"/>
              <a:gd name="connsiteX69" fmla="*/ 823722 w 1295686"/>
              <a:gd name="connsiteY69" fmla="*/ 0 h 270035"/>
              <a:gd name="connsiteX70" fmla="*/ 823722 w 1295686"/>
              <a:gd name="connsiteY70" fmla="*/ 161449 h 270035"/>
              <a:gd name="connsiteX71" fmla="*/ 823722 w 1295686"/>
              <a:gd name="connsiteY71" fmla="*/ 163449 h 270035"/>
              <a:gd name="connsiteX72" fmla="*/ 823722 w 1295686"/>
              <a:gd name="connsiteY72" fmla="*/ 165449 h 270035"/>
              <a:gd name="connsiteX73" fmla="*/ 823722 w 1295686"/>
              <a:gd name="connsiteY73" fmla="*/ 266795 h 270035"/>
              <a:gd name="connsiteX74" fmla="*/ 782765 w 1295686"/>
              <a:gd name="connsiteY74" fmla="*/ 266795 h 270035"/>
              <a:gd name="connsiteX75" fmla="*/ 782765 w 1295686"/>
              <a:gd name="connsiteY75" fmla="*/ 239649 h 270035"/>
              <a:gd name="connsiteX76" fmla="*/ 717519 w 1295686"/>
              <a:gd name="connsiteY76" fmla="*/ 269748 h 270035"/>
              <a:gd name="connsiteX77" fmla="*/ 611505 w 1295686"/>
              <a:gd name="connsiteY77" fmla="*/ 156591 h 270035"/>
              <a:gd name="connsiteX78" fmla="*/ 709232 w 1295686"/>
              <a:gd name="connsiteY78" fmla="*/ 57531 h 270035"/>
              <a:gd name="connsiteX79" fmla="*/ 780098 w 1295686"/>
              <a:gd name="connsiteY79" fmla="*/ 79819 h 27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95686" h="270035">
                <a:moveTo>
                  <a:pt x="1189292" y="102299"/>
                </a:moveTo>
                <a:cubicBezTo>
                  <a:pt x="1153192" y="102299"/>
                  <a:pt x="1124426" y="133636"/>
                  <a:pt x="1128522" y="170593"/>
                </a:cubicBezTo>
                <a:cubicBezTo>
                  <a:pt x="1131665" y="198215"/>
                  <a:pt x="1153859" y="220790"/>
                  <a:pt x="1181576" y="224219"/>
                </a:cubicBezTo>
                <a:cubicBezTo>
                  <a:pt x="1217771" y="228695"/>
                  <a:pt x="1248728" y="201549"/>
                  <a:pt x="1250537" y="166688"/>
                </a:cubicBezTo>
                <a:lnTo>
                  <a:pt x="1250442" y="166688"/>
                </a:lnTo>
                <a:lnTo>
                  <a:pt x="1250442" y="160306"/>
                </a:lnTo>
                <a:cubicBezTo>
                  <a:pt x="1248728" y="128016"/>
                  <a:pt x="1222058" y="102299"/>
                  <a:pt x="1189292" y="102299"/>
                </a:cubicBezTo>
                <a:close/>
                <a:moveTo>
                  <a:pt x="717519" y="102299"/>
                </a:moveTo>
                <a:cubicBezTo>
                  <a:pt x="681419" y="102299"/>
                  <a:pt x="652653" y="133636"/>
                  <a:pt x="656749" y="170593"/>
                </a:cubicBezTo>
                <a:cubicBezTo>
                  <a:pt x="659892" y="198215"/>
                  <a:pt x="682086" y="220789"/>
                  <a:pt x="709803" y="224218"/>
                </a:cubicBezTo>
                <a:cubicBezTo>
                  <a:pt x="745998" y="228695"/>
                  <a:pt x="776955" y="201549"/>
                  <a:pt x="778764" y="166687"/>
                </a:cubicBezTo>
                <a:lnTo>
                  <a:pt x="778669" y="166687"/>
                </a:lnTo>
                <a:lnTo>
                  <a:pt x="778669" y="160306"/>
                </a:lnTo>
                <a:cubicBezTo>
                  <a:pt x="776955" y="128016"/>
                  <a:pt x="750285" y="102299"/>
                  <a:pt x="717519" y="102299"/>
                </a:cubicBezTo>
                <a:close/>
                <a:moveTo>
                  <a:pt x="366808" y="102299"/>
                </a:moveTo>
                <a:cubicBezTo>
                  <a:pt x="333089" y="102299"/>
                  <a:pt x="305657" y="129731"/>
                  <a:pt x="305657" y="163449"/>
                </a:cubicBezTo>
                <a:cubicBezTo>
                  <a:pt x="305657" y="197168"/>
                  <a:pt x="332994" y="224600"/>
                  <a:pt x="366808" y="224600"/>
                </a:cubicBezTo>
                <a:cubicBezTo>
                  <a:pt x="400527" y="224600"/>
                  <a:pt x="427958" y="197168"/>
                  <a:pt x="427958" y="163449"/>
                </a:cubicBezTo>
                <a:cubicBezTo>
                  <a:pt x="427958" y="129731"/>
                  <a:pt x="400527" y="102299"/>
                  <a:pt x="366808" y="102299"/>
                </a:cubicBezTo>
                <a:close/>
                <a:moveTo>
                  <a:pt x="962039" y="96385"/>
                </a:moveTo>
                <a:cubicBezTo>
                  <a:pt x="954578" y="96227"/>
                  <a:pt x="946666" y="97513"/>
                  <a:pt x="938499" y="100585"/>
                </a:cubicBezTo>
                <a:cubicBezTo>
                  <a:pt x="909733" y="111348"/>
                  <a:pt x="896779" y="136875"/>
                  <a:pt x="896779" y="159068"/>
                </a:cubicBezTo>
                <a:lnTo>
                  <a:pt x="896779" y="159164"/>
                </a:lnTo>
                <a:lnTo>
                  <a:pt x="1011746" y="127541"/>
                </a:lnTo>
                <a:cubicBezTo>
                  <a:pt x="1002744" y="110324"/>
                  <a:pt x="984421" y="96858"/>
                  <a:pt x="962039" y="96385"/>
                </a:cubicBezTo>
                <a:close/>
                <a:moveTo>
                  <a:pt x="1181005" y="57436"/>
                </a:moveTo>
                <a:cubicBezTo>
                  <a:pt x="1242060" y="52673"/>
                  <a:pt x="1295686" y="99346"/>
                  <a:pt x="1295686" y="165354"/>
                </a:cubicBezTo>
                <a:lnTo>
                  <a:pt x="1295686" y="266700"/>
                </a:lnTo>
                <a:lnTo>
                  <a:pt x="1254538" y="266700"/>
                </a:lnTo>
                <a:lnTo>
                  <a:pt x="1254538" y="235458"/>
                </a:lnTo>
                <a:cubicBezTo>
                  <a:pt x="1241108" y="258604"/>
                  <a:pt x="1211295" y="269558"/>
                  <a:pt x="1189292" y="269558"/>
                </a:cubicBezTo>
                <a:cubicBezTo>
                  <a:pt x="1128332" y="269558"/>
                  <a:pt x="1079373" y="218408"/>
                  <a:pt x="1083278" y="156591"/>
                </a:cubicBezTo>
                <a:cubicBezTo>
                  <a:pt x="1086612" y="104299"/>
                  <a:pt x="1128236" y="61627"/>
                  <a:pt x="1181005" y="57531"/>
                </a:cubicBezTo>
                <a:close/>
                <a:moveTo>
                  <a:pt x="956311" y="57246"/>
                </a:moveTo>
                <a:lnTo>
                  <a:pt x="956311" y="57341"/>
                </a:lnTo>
                <a:cubicBezTo>
                  <a:pt x="1023557" y="55436"/>
                  <a:pt x="1059466" y="111062"/>
                  <a:pt x="1064134" y="151924"/>
                </a:cubicBezTo>
                <a:lnTo>
                  <a:pt x="904876" y="195359"/>
                </a:lnTo>
                <a:cubicBezTo>
                  <a:pt x="915258" y="214980"/>
                  <a:pt x="941737" y="232506"/>
                  <a:pt x="970503" y="227172"/>
                </a:cubicBezTo>
                <a:cubicBezTo>
                  <a:pt x="991077" y="223267"/>
                  <a:pt x="1008984" y="208693"/>
                  <a:pt x="1016413" y="191930"/>
                </a:cubicBezTo>
                <a:lnTo>
                  <a:pt x="1057371" y="204121"/>
                </a:lnTo>
                <a:cubicBezTo>
                  <a:pt x="1041274" y="244889"/>
                  <a:pt x="1000507" y="270035"/>
                  <a:pt x="958787" y="270035"/>
                </a:cubicBezTo>
                <a:cubicBezTo>
                  <a:pt x="898970" y="270035"/>
                  <a:pt x="852488" y="222029"/>
                  <a:pt x="852488" y="164593"/>
                </a:cubicBezTo>
                <a:cubicBezTo>
                  <a:pt x="852488" y="102299"/>
                  <a:pt x="900494" y="58770"/>
                  <a:pt x="956311" y="57246"/>
                </a:cubicBezTo>
                <a:close/>
                <a:moveTo>
                  <a:pt x="366903" y="57055"/>
                </a:moveTo>
                <a:cubicBezTo>
                  <a:pt x="425673" y="57055"/>
                  <a:pt x="473298" y="104680"/>
                  <a:pt x="473298" y="163449"/>
                </a:cubicBezTo>
                <a:cubicBezTo>
                  <a:pt x="473298" y="222219"/>
                  <a:pt x="425673" y="269844"/>
                  <a:pt x="366903" y="269844"/>
                </a:cubicBezTo>
                <a:cubicBezTo>
                  <a:pt x="308134" y="269844"/>
                  <a:pt x="260509" y="222219"/>
                  <a:pt x="260509" y="163449"/>
                </a:cubicBezTo>
                <a:cubicBezTo>
                  <a:pt x="260509" y="104680"/>
                  <a:pt x="308134" y="57055"/>
                  <a:pt x="366903" y="57055"/>
                </a:cubicBezTo>
                <a:close/>
                <a:moveTo>
                  <a:pt x="605885" y="56769"/>
                </a:moveTo>
                <a:lnTo>
                  <a:pt x="605885" y="100393"/>
                </a:lnTo>
                <a:lnTo>
                  <a:pt x="605981" y="100393"/>
                </a:lnTo>
                <a:cubicBezTo>
                  <a:pt x="574453" y="102013"/>
                  <a:pt x="547307" y="120301"/>
                  <a:pt x="547307" y="167164"/>
                </a:cubicBezTo>
                <a:cubicBezTo>
                  <a:pt x="547307" y="205073"/>
                  <a:pt x="547402" y="204025"/>
                  <a:pt x="547402" y="266795"/>
                </a:cubicBezTo>
                <a:lnTo>
                  <a:pt x="500920" y="266795"/>
                </a:lnTo>
                <a:lnTo>
                  <a:pt x="500920" y="63722"/>
                </a:lnTo>
                <a:lnTo>
                  <a:pt x="546164" y="63722"/>
                </a:lnTo>
                <a:lnTo>
                  <a:pt x="546164" y="87154"/>
                </a:lnTo>
                <a:cubicBezTo>
                  <a:pt x="552069" y="76295"/>
                  <a:pt x="566166" y="56769"/>
                  <a:pt x="605885" y="56769"/>
                </a:cubicBezTo>
                <a:close/>
                <a:moveTo>
                  <a:pt x="0" y="21622"/>
                </a:moveTo>
                <a:lnTo>
                  <a:pt x="47339" y="21622"/>
                </a:lnTo>
                <a:lnTo>
                  <a:pt x="186214" y="185166"/>
                </a:lnTo>
                <a:lnTo>
                  <a:pt x="186214" y="21622"/>
                </a:lnTo>
                <a:lnTo>
                  <a:pt x="233077" y="21622"/>
                </a:lnTo>
                <a:lnTo>
                  <a:pt x="232982" y="266700"/>
                </a:lnTo>
                <a:lnTo>
                  <a:pt x="189548" y="266700"/>
                </a:lnTo>
                <a:lnTo>
                  <a:pt x="48959" y="102680"/>
                </a:lnTo>
                <a:lnTo>
                  <a:pt x="48959" y="266414"/>
                </a:lnTo>
                <a:lnTo>
                  <a:pt x="0" y="266414"/>
                </a:lnTo>
                <a:close/>
                <a:moveTo>
                  <a:pt x="780098" y="0"/>
                </a:moveTo>
                <a:lnTo>
                  <a:pt x="823722" y="0"/>
                </a:lnTo>
                <a:lnTo>
                  <a:pt x="823722" y="161449"/>
                </a:lnTo>
                <a:cubicBezTo>
                  <a:pt x="823722" y="162115"/>
                  <a:pt x="823722" y="162782"/>
                  <a:pt x="823722" y="163449"/>
                </a:cubicBezTo>
                <a:cubicBezTo>
                  <a:pt x="823722" y="164116"/>
                  <a:pt x="823722" y="164783"/>
                  <a:pt x="823722" y="165449"/>
                </a:cubicBezTo>
                <a:lnTo>
                  <a:pt x="823722" y="266795"/>
                </a:lnTo>
                <a:cubicBezTo>
                  <a:pt x="823722" y="266795"/>
                  <a:pt x="782765" y="266795"/>
                  <a:pt x="782765" y="266795"/>
                </a:cubicBezTo>
                <a:lnTo>
                  <a:pt x="782765" y="239649"/>
                </a:lnTo>
                <a:cubicBezTo>
                  <a:pt x="771906" y="258889"/>
                  <a:pt x="740283" y="269748"/>
                  <a:pt x="717519" y="269748"/>
                </a:cubicBezTo>
                <a:cubicBezTo>
                  <a:pt x="656559" y="269748"/>
                  <a:pt x="607600" y="218408"/>
                  <a:pt x="611505" y="156591"/>
                </a:cubicBezTo>
                <a:cubicBezTo>
                  <a:pt x="614839" y="104299"/>
                  <a:pt x="656940" y="61722"/>
                  <a:pt x="709232" y="57531"/>
                </a:cubicBezTo>
                <a:cubicBezTo>
                  <a:pt x="737235" y="55245"/>
                  <a:pt x="769716" y="66104"/>
                  <a:pt x="780098" y="79819"/>
                </a:cubicBezTo>
                <a:close/>
              </a:path>
            </a:pathLst>
          </a:custGeom>
          <a:solidFill>
            <a:schemeClr val="bg1"/>
          </a:soli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14196530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8263"/>
            <a:ext cx="7200000" cy="750221"/>
          </a:xfrm>
        </p:spPr>
        <p:txBody>
          <a:bodyPr>
            <a:noAutofit/>
          </a:bodyPr>
          <a:lstStyle>
            <a:lvl1pPr>
              <a:defRPr sz="2400">
                <a:solidFill>
                  <a:srgbClr val="FBD9CA"/>
                </a:solidFill>
              </a:defRPr>
            </a:lvl1pPr>
          </a:lstStyle>
          <a:p>
            <a:r>
              <a:rPr lang="en-GB"/>
              <a:t>Click to edit Master title style</a:t>
            </a:r>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sp>
        <p:nvSpPr>
          <p:cNvPr id="8" name="AutoShape 3"/>
          <p:cNvSpPr>
            <a:spLocks noChangeAspect="1" noChangeArrowheads="1" noTextEdit="1"/>
          </p:cNvSpPr>
          <p:nvPr userDrawn="1"/>
        </p:nvSpPr>
        <p:spPr bwMode="auto">
          <a:xfrm>
            <a:off x="8326438" y="2854325"/>
            <a:ext cx="3995737"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7" name="Pulse"/>
          <p:cNvGrpSpPr/>
          <p:nvPr userDrawn="1"/>
        </p:nvGrpSpPr>
        <p:grpSpPr>
          <a:xfrm>
            <a:off x="8751888" y="3030538"/>
            <a:ext cx="3446462" cy="34909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 name="Logotype"/>
          <p:cNvGrpSpPr/>
          <p:nvPr userDrawn="1"/>
        </p:nvGrpSpPr>
        <p:grpSpPr>
          <a:xfrm>
            <a:off x="641350" y="530890"/>
            <a:ext cx="1384039" cy="288609"/>
            <a:chOff x="9501453" y="6148765"/>
            <a:chExt cx="2047875" cy="427037"/>
          </a:xfrm>
          <a:solidFill>
            <a:schemeClr val="bg1"/>
          </a:solidFill>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16548264"/>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a:p>
        </p:txBody>
      </p:sp>
      <p:sp>
        <p:nvSpPr>
          <p:cNvPr id="4" name="Title 3"/>
          <p:cNvSpPr>
            <a:spLocks noGrp="1"/>
          </p:cNvSpPr>
          <p:nvPr>
            <p:ph type="title"/>
          </p:nvPr>
        </p:nvSpPr>
        <p:spPr/>
        <p:txBody>
          <a:bodyPr/>
          <a:lstStyle/>
          <a:p>
            <a:r>
              <a:rPr lang="en-GB"/>
              <a:t>Click to edit Master title style</a:t>
            </a:r>
          </a:p>
        </p:txBody>
      </p:sp>
      <p:sp>
        <p:nvSpPr>
          <p:cNvPr id="5" name="Footer Placeholder 4"/>
          <p:cNvSpPr>
            <a:spLocks noGrp="1"/>
          </p:cNvSpPr>
          <p:nvPr>
            <p:ph type="ftr" sz="quarter" idx="13"/>
          </p:nvPr>
        </p:nvSpPr>
        <p:spPr/>
        <p:txBody>
          <a:bodyPr/>
          <a:lstStyle>
            <a:lvl1pPr>
              <a:defRPr>
                <a:solidFill>
                  <a:srgbClr val="8B8A8D"/>
                </a:solidFill>
              </a:defRPr>
            </a:lvl1pPr>
          </a:lstStyle>
          <a:p>
            <a:endParaRPr lang="en-GB"/>
          </a:p>
        </p:txBody>
      </p:sp>
    </p:spTree>
    <p:extLst>
      <p:ext uri="{BB962C8B-B14F-4D97-AF65-F5344CB8AC3E}">
        <p14:creationId xmlns:p14="http://schemas.microsoft.com/office/powerpoint/2010/main" val="3702677902"/>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Narr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a:xfrm>
            <a:off x="647999" y="1332000"/>
            <a:ext cx="7200000" cy="4428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12"/>
          </p:nvPr>
        </p:nvSpPr>
        <p:spPr/>
        <p:txBody>
          <a:bodyPr/>
          <a:lstStyle/>
          <a:p>
            <a:fld id="{D14BCCD3-0010-4FBA-B965-2126ADC31932}" type="slidenum">
              <a:rPr lang="en-GB" smtClean="0"/>
              <a:t>‹#›</a:t>
            </a:fld>
            <a:endParaRPr lang="en-GB"/>
          </a:p>
        </p:txBody>
      </p:sp>
      <p:sp>
        <p:nvSpPr>
          <p:cNvPr id="4" name="Footer Placeholder 3"/>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529329773"/>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p>
        </p:txBody>
      </p:sp>
      <p:sp>
        <p:nvSpPr>
          <p:cNvPr id="3" name="Content Placeholder 2"/>
          <p:cNvSpPr>
            <a:spLocks noGrp="1"/>
          </p:cNvSpPr>
          <p:nvPr>
            <p:ph sz="half" idx="1"/>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a:xfrm>
            <a:off x="6192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5" name="Footer Placeholder 4"/>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3976877515"/>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chemeClr val="bg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A5832702-13D4-CC82-9036-5C11D2AEC3CA}"/>
              </a:ext>
            </a:extLst>
          </p:cNvPr>
          <p:cNvSpPr>
            <a:spLocks noGrp="1"/>
          </p:cNvSpPr>
          <p:nvPr>
            <p:ph type="pic" sz="quarter" idx="15" hasCustomPrompt="1"/>
          </p:nvPr>
        </p:nvSpPr>
        <p:spPr>
          <a:xfrm>
            <a:off x="1" y="2"/>
            <a:ext cx="12195174" cy="6859587"/>
          </a:xfrm>
          <a:custGeom>
            <a:avLst/>
            <a:gdLst>
              <a:gd name="connsiteX0" fmla="*/ 7166078 w 12195174"/>
              <a:gd name="connsiteY0" fmla="*/ 3249843 h 6859587"/>
              <a:gd name="connsiteX1" fmla="*/ 6964845 w 12195174"/>
              <a:gd name="connsiteY1" fmla="*/ 3451568 h 6859587"/>
              <a:gd name="connsiteX2" fmla="*/ 6964845 w 12195174"/>
              <a:gd name="connsiteY2" fmla="*/ 3725337 h 6859587"/>
              <a:gd name="connsiteX3" fmla="*/ 7166078 w 12195174"/>
              <a:gd name="connsiteY3" fmla="*/ 3931864 h 6859587"/>
              <a:gd name="connsiteX4" fmla="*/ 7367310 w 12195174"/>
              <a:gd name="connsiteY4" fmla="*/ 3725337 h 6859587"/>
              <a:gd name="connsiteX5" fmla="*/ 7367310 w 12195174"/>
              <a:gd name="connsiteY5" fmla="*/ 3451568 h 6859587"/>
              <a:gd name="connsiteX6" fmla="*/ 7166078 w 12195174"/>
              <a:gd name="connsiteY6" fmla="*/ 3249843 h 6859587"/>
              <a:gd name="connsiteX7" fmla="*/ 11381105 w 12195174"/>
              <a:gd name="connsiteY7" fmla="*/ 3216105 h 6859587"/>
              <a:gd name="connsiteX8" fmla="*/ 11040094 w 12195174"/>
              <a:gd name="connsiteY8" fmla="*/ 3556386 h 6859587"/>
              <a:gd name="connsiteX9" fmla="*/ 11040094 w 12195174"/>
              <a:gd name="connsiteY9" fmla="*/ 4572438 h 6859587"/>
              <a:gd name="connsiteX10" fmla="*/ 11381105 w 12195174"/>
              <a:gd name="connsiteY10" fmla="*/ 4912719 h 6859587"/>
              <a:gd name="connsiteX11" fmla="*/ 11722115 w 12195174"/>
              <a:gd name="connsiteY11" fmla="*/ 4572438 h 6859587"/>
              <a:gd name="connsiteX12" fmla="*/ 11722115 w 12195174"/>
              <a:gd name="connsiteY12" fmla="*/ 3556386 h 6859587"/>
              <a:gd name="connsiteX13" fmla="*/ 11381105 w 12195174"/>
              <a:gd name="connsiteY13" fmla="*/ 3216105 h 6859587"/>
              <a:gd name="connsiteX14" fmla="*/ 10273739 w 12195174"/>
              <a:gd name="connsiteY14" fmla="*/ 2435275 h 6859587"/>
              <a:gd name="connsiteX15" fmla="*/ 9851982 w 12195174"/>
              <a:gd name="connsiteY15" fmla="*/ 2857025 h 6859587"/>
              <a:gd name="connsiteX16" fmla="*/ 9851982 w 12195174"/>
              <a:gd name="connsiteY16" fmla="*/ 5814068 h 6859587"/>
              <a:gd name="connsiteX17" fmla="*/ 10273739 w 12195174"/>
              <a:gd name="connsiteY17" fmla="*/ 6240610 h 6859587"/>
              <a:gd name="connsiteX18" fmla="*/ 10700289 w 12195174"/>
              <a:gd name="connsiteY18" fmla="*/ 5814068 h 6859587"/>
              <a:gd name="connsiteX19" fmla="*/ 10700289 w 12195174"/>
              <a:gd name="connsiteY19" fmla="*/ 2857025 h 6859587"/>
              <a:gd name="connsiteX20" fmla="*/ 10273739 w 12195174"/>
              <a:gd name="connsiteY20" fmla="*/ 2435275 h 6859587"/>
              <a:gd name="connsiteX21" fmla="*/ 7980646 w 12195174"/>
              <a:gd name="connsiteY21" fmla="*/ 2264169 h 6859587"/>
              <a:gd name="connsiteX22" fmla="*/ 7639635 w 12195174"/>
              <a:gd name="connsiteY22" fmla="*/ 2604455 h 6859587"/>
              <a:gd name="connsiteX23" fmla="*/ 7639635 w 12195174"/>
              <a:gd name="connsiteY23" fmla="*/ 3625316 h 6859587"/>
              <a:gd name="connsiteX24" fmla="*/ 7980646 w 12195174"/>
              <a:gd name="connsiteY24" fmla="*/ 3965603 h 6859587"/>
              <a:gd name="connsiteX25" fmla="*/ 8321656 w 12195174"/>
              <a:gd name="connsiteY25" fmla="*/ 3625316 h 6859587"/>
              <a:gd name="connsiteX26" fmla="*/ 8321656 w 12195174"/>
              <a:gd name="connsiteY26" fmla="*/ 2604455 h 6859587"/>
              <a:gd name="connsiteX27" fmla="*/ 7980646 w 12195174"/>
              <a:gd name="connsiteY27" fmla="*/ 2264169 h 6859587"/>
              <a:gd name="connsiteX28" fmla="*/ 9084416 w 12195174"/>
              <a:gd name="connsiteY28" fmla="*/ 941097 h 6859587"/>
              <a:gd name="connsiteX29" fmla="*/ 8661460 w 12195174"/>
              <a:gd name="connsiteY29" fmla="*/ 1367640 h 6859587"/>
              <a:gd name="connsiteX30" fmla="*/ 8661460 w 12195174"/>
              <a:gd name="connsiteY30" fmla="*/ 4319890 h 6859587"/>
              <a:gd name="connsiteX31" fmla="*/ 9084416 w 12195174"/>
              <a:gd name="connsiteY31" fmla="*/ 4746432 h 6859587"/>
              <a:gd name="connsiteX32" fmla="*/ 9512178 w 12195174"/>
              <a:gd name="connsiteY32" fmla="*/ 4319890 h 6859587"/>
              <a:gd name="connsiteX33" fmla="*/ 9512178 w 12195174"/>
              <a:gd name="connsiteY33" fmla="*/ 1367640 h 6859587"/>
              <a:gd name="connsiteX34" fmla="*/ 9084416 w 12195174"/>
              <a:gd name="connsiteY34" fmla="*/ 941097 h 6859587"/>
              <a:gd name="connsiteX35" fmla="*/ 0 w 12195174"/>
              <a:gd name="connsiteY35" fmla="*/ 0 h 6859587"/>
              <a:gd name="connsiteX36" fmla="*/ 12195174 w 12195174"/>
              <a:gd name="connsiteY36" fmla="*/ 0 h 6859587"/>
              <a:gd name="connsiteX37" fmla="*/ 12195174 w 12195174"/>
              <a:gd name="connsiteY37" fmla="*/ 3250010 h 6859587"/>
              <a:gd name="connsiteX38" fmla="*/ 12154552 w 12195174"/>
              <a:gd name="connsiteY38" fmla="*/ 3253980 h 6859587"/>
              <a:gd name="connsiteX39" fmla="*/ 11984800 w 12195174"/>
              <a:gd name="connsiteY39" fmla="*/ 3451568 h 6859587"/>
              <a:gd name="connsiteX40" fmla="*/ 11984800 w 12195174"/>
              <a:gd name="connsiteY40" fmla="*/ 3725337 h 6859587"/>
              <a:gd name="connsiteX41" fmla="*/ 12154552 w 12195174"/>
              <a:gd name="connsiteY41" fmla="*/ 3927718 h 6859587"/>
              <a:gd name="connsiteX42" fmla="*/ 12195174 w 12195174"/>
              <a:gd name="connsiteY42" fmla="*/ 3931697 h 6859587"/>
              <a:gd name="connsiteX43" fmla="*/ 12195174 w 12195174"/>
              <a:gd name="connsiteY43" fmla="*/ 6859587 h 6859587"/>
              <a:gd name="connsiteX44" fmla="*/ 0 w 12195174"/>
              <a:gd name="connsiteY44" fmla="*/ 6859587 h 685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195174" h="6859587">
                <a:moveTo>
                  <a:pt x="7166078" y="3249843"/>
                </a:moveTo>
                <a:cubicBezTo>
                  <a:pt x="7051088" y="3249843"/>
                  <a:pt x="6964845" y="3341099"/>
                  <a:pt x="6964845" y="3451568"/>
                </a:cubicBezTo>
                <a:cubicBezTo>
                  <a:pt x="6964845" y="3451568"/>
                  <a:pt x="6964845" y="3451568"/>
                  <a:pt x="6964845" y="3725337"/>
                </a:cubicBezTo>
                <a:cubicBezTo>
                  <a:pt x="6964845" y="3840608"/>
                  <a:pt x="7051088" y="3931864"/>
                  <a:pt x="7166078" y="3931864"/>
                </a:cubicBezTo>
                <a:cubicBezTo>
                  <a:pt x="7276276" y="3931864"/>
                  <a:pt x="7367310" y="3840608"/>
                  <a:pt x="7367310" y="3725337"/>
                </a:cubicBezTo>
                <a:cubicBezTo>
                  <a:pt x="7367310" y="3725337"/>
                  <a:pt x="7367310" y="3725337"/>
                  <a:pt x="7367310" y="3451568"/>
                </a:cubicBezTo>
                <a:cubicBezTo>
                  <a:pt x="7367310" y="3341099"/>
                  <a:pt x="7276276" y="3249843"/>
                  <a:pt x="7166078" y="3249843"/>
                </a:cubicBezTo>
                <a:close/>
                <a:moveTo>
                  <a:pt x="11381105" y="3216105"/>
                </a:moveTo>
                <a:cubicBezTo>
                  <a:pt x="11193789" y="3216105"/>
                  <a:pt x="11040094" y="3369471"/>
                  <a:pt x="11040094" y="3556386"/>
                </a:cubicBezTo>
                <a:cubicBezTo>
                  <a:pt x="11040094" y="3556386"/>
                  <a:pt x="11040094" y="3556386"/>
                  <a:pt x="11040094" y="4572438"/>
                </a:cubicBezTo>
                <a:cubicBezTo>
                  <a:pt x="11040094" y="4759353"/>
                  <a:pt x="11193789" y="4912719"/>
                  <a:pt x="11381105" y="4912719"/>
                </a:cubicBezTo>
                <a:cubicBezTo>
                  <a:pt x="11568420" y="4912719"/>
                  <a:pt x="11722115" y="4759353"/>
                  <a:pt x="11722115" y="4572438"/>
                </a:cubicBezTo>
                <a:cubicBezTo>
                  <a:pt x="11722115" y="4572438"/>
                  <a:pt x="11722115" y="4572438"/>
                  <a:pt x="11722115" y="3556386"/>
                </a:cubicBezTo>
                <a:cubicBezTo>
                  <a:pt x="11722115" y="3369471"/>
                  <a:pt x="11568420" y="3216105"/>
                  <a:pt x="11381105" y="3216105"/>
                </a:cubicBezTo>
                <a:close/>
                <a:moveTo>
                  <a:pt x="10273739" y="2435275"/>
                </a:moveTo>
                <a:cubicBezTo>
                  <a:pt x="10043690" y="2435275"/>
                  <a:pt x="9851982" y="2626980"/>
                  <a:pt x="9851982" y="2857025"/>
                </a:cubicBezTo>
                <a:cubicBezTo>
                  <a:pt x="9851982" y="2857025"/>
                  <a:pt x="9851982" y="2857025"/>
                  <a:pt x="9851982" y="5814068"/>
                </a:cubicBezTo>
                <a:cubicBezTo>
                  <a:pt x="9851982" y="6048906"/>
                  <a:pt x="10043690" y="6240610"/>
                  <a:pt x="10273739" y="6240610"/>
                </a:cubicBezTo>
                <a:cubicBezTo>
                  <a:pt x="10508581" y="6240610"/>
                  <a:pt x="10700289" y="6048906"/>
                  <a:pt x="10700289" y="5814068"/>
                </a:cubicBezTo>
                <a:cubicBezTo>
                  <a:pt x="10700289" y="5814068"/>
                  <a:pt x="10700289" y="5814068"/>
                  <a:pt x="10700289" y="2857025"/>
                </a:cubicBezTo>
                <a:cubicBezTo>
                  <a:pt x="10700289" y="2626980"/>
                  <a:pt x="10508581" y="2435275"/>
                  <a:pt x="10273739" y="2435275"/>
                </a:cubicBezTo>
                <a:close/>
                <a:moveTo>
                  <a:pt x="7980646" y="2264169"/>
                </a:moveTo>
                <a:cubicBezTo>
                  <a:pt x="7793330" y="2264169"/>
                  <a:pt x="7639635" y="2417538"/>
                  <a:pt x="7639635" y="2604455"/>
                </a:cubicBezTo>
                <a:cubicBezTo>
                  <a:pt x="7639635" y="2604455"/>
                  <a:pt x="7639635" y="2604455"/>
                  <a:pt x="7639635" y="3625316"/>
                </a:cubicBezTo>
                <a:cubicBezTo>
                  <a:pt x="7639635" y="3812234"/>
                  <a:pt x="7793330" y="3965603"/>
                  <a:pt x="7980646" y="3965603"/>
                </a:cubicBezTo>
                <a:cubicBezTo>
                  <a:pt x="8167961" y="3965603"/>
                  <a:pt x="8321656" y="3812234"/>
                  <a:pt x="8321656" y="3625316"/>
                </a:cubicBezTo>
                <a:cubicBezTo>
                  <a:pt x="8321656" y="3625316"/>
                  <a:pt x="8321656" y="3625316"/>
                  <a:pt x="8321656" y="2604455"/>
                </a:cubicBezTo>
                <a:cubicBezTo>
                  <a:pt x="8321656" y="2417538"/>
                  <a:pt x="8167961" y="2264169"/>
                  <a:pt x="7980646" y="2264169"/>
                </a:cubicBezTo>
                <a:close/>
                <a:moveTo>
                  <a:pt x="9084416" y="941097"/>
                </a:moveTo>
                <a:cubicBezTo>
                  <a:pt x="8853713" y="941097"/>
                  <a:pt x="8661460" y="1132802"/>
                  <a:pt x="8661460" y="1367640"/>
                </a:cubicBezTo>
                <a:cubicBezTo>
                  <a:pt x="8661460" y="1367640"/>
                  <a:pt x="8661460" y="1367640"/>
                  <a:pt x="8661460" y="4319890"/>
                </a:cubicBezTo>
                <a:cubicBezTo>
                  <a:pt x="8661460" y="4554728"/>
                  <a:pt x="8853713" y="4746432"/>
                  <a:pt x="9084416" y="4746432"/>
                </a:cubicBezTo>
                <a:cubicBezTo>
                  <a:pt x="9319925" y="4746432"/>
                  <a:pt x="9512178" y="4554728"/>
                  <a:pt x="9512178" y="4319890"/>
                </a:cubicBezTo>
                <a:cubicBezTo>
                  <a:pt x="9512178" y="4319890"/>
                  <a:pt x="9512178" y="4319890"/>
                  <a:pt x="9512178" y="1367640"/>
                </a:cubicBezTo>
                <a:cubicBezTo>
                  <a:pt x="9512178" y="1132802"/>
                  <a:pt x="9319925" y="941097"/>
                  <a:pt x="9084416" y="941097"/>
                </a:cubicBezTo>
                <a:close/>
                <a:moveTo>
                  <a:pt x="0" y="0"/>
                </a:moveTo>
                <a:lnTo>
                  <a:pt x="12195174" y="0"/>
                </a:lnTo>
                <a:lnTo>
                  <a:pt x="12195174" y="3250010"/>
                </a:lnTo>
                <a:lnTo>
                  <a:pt x="12154552" y="3253980"/>
                </a:lnTo>
                <a:cubicBezTo>
                  <a:pt x="12058605" y="3272957"/>
                  <a:pt x="11984800" y="3354908"/>
                  <a:pt x="11984800" y="3451568"/>
                </a:cubicBezTo>
                <a:cubicBezTo>
                  <a:pt x="11984800" y="3725337"/>
                  <a:pt x="11984800" y="3725337"/>
                  <a:pt x="11984800" y="3725337"/>
                </a:cubicBezTo>
                <a:cubicBezTo>
                  <a:pt x="11984800" y="3826199"/>
                  <a:pt x="12058605" y="3908675"/>
                  <a:pt x="12154552" y="3927718"/>
                </a:cubicBezTo>
                <a:lnTo>
                  <a:pt x="12195174" y="3931697"/>
                </a:lnTo>
                <a:lnTo>
                  <a:pt x="12195174" y="6859587"/>
                </a:lnTo>
                <a:lnTo>
                  <a:pt x="0" y="6859587"/>
                </a:lnTo>
                <a:close/>
              </a:path>
            </a:pathLst>
          </a:custGeom>
          <a:solidFill>
            <a:schemeClr val="accent5"/>
          </a:solidFill>
        </p:spPr>
        <p:txBody>
          <a:bodyPr wrap="square" tIns="504000" anchor="t" anchorCtr="0">
            <a:noAutofit/>
          </a:bodyPr>
          <a:lstStyle>
            <a:lvl1pPr marL="0" indent="0" algn="ctr">
              <a:buNone/>
              <a:defRPr baseline="0">
                <a:solidFill>
                  <a:schemeClr val="bg1"/>
                </a:solidFill>
              </a:defRPr>
            </a:lvl1pPr>
          </a:lstStyle>
          <a:p>
            <a:r>
              <a:rPr lang="en-GB"/>
              <a:t>Insert image by clicking on placeholder + Images button</a:t>
            </a:r>
            <a:endParaRPr lang="en-GB" dirty="0"/>
          </a:p>
        </p:txBody>
      </p:sp>
      <p:sp>
        <p:nvSpPr>
          <p:cNvPr id="2" name="Title 1"/>
          <p:cNvSpPr>
            <a:spLocks noGrp="1"/>
          </p:cNvSpPr>
          <p:nvPr userDrawn="1">
            <p:ph type="ctrTitle"/>
          </p:nvPr>
        </p:nvSpPr>
        <p:spPr>
          <a:xfrm>
            <a:off x="648000" y="1339200"/>
            <a:ext cx="5436000" cy="2473200"/>
          </a:xfrm>
        </p:spPr>
        <p:txBody>
          <a:bodyPr>
            <a:noAutofit/>
          </a:bodyPr>
          <a:lstStyle>
            <a:lvl1pPr>
              <a:defRPr sz="4000">
                <a:solidFill>
                  <a:schemeClr val="accent4"/>
                </a:solidFill>
              </a:defRPr>
            </a:lvl1pPr>
          </a:lstStyle>
          <a:p>
            <a:r>
              <a:rPr lang="en-GB"/>
              <a:t>Click to edit Master title style</a:t>
            </a:r>
            <a:endParaRPr lang="en-GB" dirty="0"/>
          </a:p>
        </p:txBody>
      </p:sp>
      <p:sp>
        <p:nvSpPr>
          <p:cNvPr id="3" name="Subtitle 2"/>
          <p:cNvSpPr>
            <a:spLocks noGrp="1"/>
          </p:cNvSpPr>
          <p:nvPr userDrawn="1">
            <p:ph type="subTitle" idx="1"/>
          </p:nvPr>
        </p:nvSpPr>
        <p:spPr>
          <a:xfrm>
            <a:off x="648000" y="4294800"/>
            <a:ext cx="5436000" cy="360083"/>
          </a:xfrm>
        </p:spPr>
        <p:txBody>
          <a:bodyPr>
            <a:noAutofit/>
          </a:bodyPr>
          <a:lstStyle>
            <a:lvl1pPr marL="0" indent="0" algn="l">
              <a:buNone/>
              <a:defRPr sz="1800" b="1">
                <a:solidFill>
                  <a:schemeClr val="bg1"/>
                </a:solidFill>
                <a:latin typeface="+mj-lt"/>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21" name="Text Placeholder 20"/>
          <p:cNvSpPr>
            <a:spLocks noGrp="1"/>
          </p:cNvSpPr>
          <p:nvPr userDrawn="1">
            <p:ph type="body" sz="quarter" idx="13" hasCustomPrompt="1"/>
          </p:nvPr>
        </p:nvSpPr>
        <p:spPr>
          <a:xfrm>
            <a:off x="648000" y="4773600"/>
            <a:ext cx="5436000" cy="216000"/>
          </a:xfrm>
        </p:spPr>
        <p:txBody>
          <a:bodyPr>
            <a:noAutofit/>
          </a:bodyPr>
          <a:lstStyle>
            <a:lvl1pPr marL="0" indent="0">
              <a:buNone/>
              <a:defRPr sz="1400">
                <a:solidFill>
                  <a:schemeClr val="bg1"/>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endParaRPr lang="en-GB" dirty="0"/>
          </a:p>
        </p:txBody>
      </p:sp>
      <p:sp>
        <p:nvSpPr>
          <p:cNvPr id="22" name="Text Placeholder 20"/>
          <p:cNvSpPr>
            <a:spLocks noGrp="1"/>
          </p:cNvSpPr>
          <p:nvPr userDrawn="1">
            <p:ph type="body" sz="quarter" idx="14" hasCustomPrompt="1"/>
          </p:nvPr>
        </p:nvSpPr>
        <p:spPr>
          <a:xfrm>
            <a:off x="648000" y="5025600"/>
            <a:ext cx="5436000" cy="216000"/>
          </a:xfrm>
        </p:spPr>
        <p:txBody>
          <a:bodyPr>
            <a:noAutofit/>
          </a:bodyPr>
          <a:lstStyle>
            <a:lvl1pPr marL="0" indent="0">
              <a:buNone/>
              <a:defRPr sz="1400">
                <a:solidFill>
                  <a:schemeClr val="bg1"/>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endParaRPr lang="en-GB" dirty="0"/>
          </a:p>
        </p:txBody>
      </p:sp>
      <p:sp>
        <p:nvSpPr>
          <p:cNvPr id="5" name="Logotype">
            <a:extLst>
              <a:ext uri="{FF2B5EF4-FFF2-40B4-BE49-F238E27FC236}">
                <a16:creationId xmlns:a16="http://schemas.microsoft.com/office/drawing/2014/main" id="{E9B5DA61-A2C1-8A49-44C9-63920942D3BF}"/>
              </a:ext>
            </a:extLst>
          </p:cNvPr>
          <p:cNvSpPr>
            <a:spLocks noChangeAspect="1"/>
          </p:cNvSpPr>
          <p:nvPr userDrawn="1"/>
        </p:nvSpPr>
        <p:spPr>
          <a:xfrm>
            <a:off x="641350" y="530890"/>
            <a:ext cx="1386000" cy="288857"/>
          </a:xfrm>
          <a:custGeom>
            <a:avLst/>
            <a:gdLst>
              <a:gd name="connsiteX0" fmla="*/ 1189292 w 1295686"/>
              <a:gd name="connsiteY0" fmla="*/ 102299 h 270035"/>
              <a:gd name="connsiteX1" fmla="*/ 1128522 w 1295686"/>
              <a:gd name="connsiteY1" fmla="*/ 170593 h 270035"/>
              <a:gd name="connsiteX2" fmla="*/ 1181576 w 1295686"/>
              <a:gd name="connsiteY2" fmla="*/ 224219 h 270035"/>
              <a:gd name="connsiteX3" fmla="*/ 1250537 w 1295686"/>
              <a:gd name="connsiteY3" fmla="*/ 166688 h 270035"/>
              <a:gd name="connsiteX4" fmla="*/ 1250442 w 1295686"/>
              <a:gd name="connsiteY4" fmla="*/ 166688 h 270035"/>
              <a:gd name="connsiteX5" fmla="*/ 1250442 w 1295686"/>
              <a:gd name="connsiteY5" fmla="*/ 160306 h 270035"/>
              <a:gd name="connsiteX6" fmla="*/ 1189292 w 1295686"/>
              <a:gd name="connsiteY6" fmla="*/ 102299 h 270035"/>
              <a:gd name="connsiteX7" fmla="*/ 717519 w 1295686"/>
              <a:gd name="connsiteY7" fmla="*/ 102299 h 270035"/>
              <a:gd name="connsiteX8" fmla="*/ 656749 w 1295686"/>
              <a:gd name="connsiteY8" fmla="*/ 170593 h 270035"/>
              <a:gd name="connsiteX9" fmla="*/ 709803 w 1295686"/>
              <a:gd name="connsiteY9" fmla="*/ 224218 h 270035"/>
              <a:gd name="connsiteX10" fmla="*/ 778764 w 1295686"/>
              <a:gd name="connsiteY10" fmla="*/ 166687 h 270035"/>
              <a:gd name="connsiteX11" fmla="*/ 778669 w 1295686"/>
              <a:gd name="connsiteY11" fmla="*/ 166687 h 270035"/>
              <a:gd name="connsiteX12" fmla="*/ 778669 w 1295686"/>
              <a:gd name="connsiteY12" fmla="*/ 160306 h 270035"/>
              <a:gd name="connsiteX13" fmla="*/ 717519 w 1295686"/>
              <a:gd name="connsiteY13" fmla="*/ 102299 h 270035"/>
              <a:gd name="connsiteX14" fmla="*/ 366808 w 1295686"/>
              <a:gd name="connsiteY14" fmla="*/ 102299 h 270035"/>
              <a:gd name="connsiteX15" fmla="*/ 305657 w 1295686"/>
              <a:gd name="connsiteY15" fmla="*/ 163449 h 270035"/>
              <a:gd name="connsiteX16" fmla="*/ 366808 w 1295686"/>
              <a:gd name="connsiteY16" fmla="*/ 224600 h 270035"/>
              <a:gd name="connsiteX17" fmla="*/ 427958 w 1295686"/>
              <a:gd name="connsiteY17" fmla="*/ 163449 h 270035"/>
              <a:gd name="connsiteX18" fmla="*/ 366808 w 1295686"/>
              <a:gd name="connsiteY18" fmla="*/ 102299 h 270035"/>
              <a:gd name="connsiteX19" fmla="*/ 962039 w 1295686"/>
              <a:gd name="connsiteY19" fmla="*/ 96385 h 270035"/>
              <a:gd name="connsiteX20" fmla="*/ 938499 w 1295686"/>
              <a:gd name="connsiteY20" fmla="*/ 100585 h 270035"/>
              <a:gd name="connsiteX21" fmla="*/ 896779 w 1295686"/>
              <a:gd name="connsiteY21" fmla="*/ 159068 h 270035"/>
              <a:gd name="connsiteX22" fmla="*/ 896779 w 1295686"/>
              <a:gd name="connsiteY22" fmla="*/ 159164 h 270035"/>
              <a:gd name="connsiteX23" fmla="*/ 1011746 w 1295686"/>
              <a:gd name="connsiteY23" fmla="*/ 127541 h 270035"/>
              <a:gd name="connsiteX24" fmla="*/ 962039 w 1295686"/>
              <a:gd name="connsiteY24" fmla="*/ 96385 h 270035"/>
              <a:gd name="connsiteX25" fmla="*/ 1181005 w 1295686"/>
              <a:gd name="connsiteY25" fmla="*/ 57436 h 270035"/>
              <a:gd name="connsiteX26" fmla="*/ 1295686 w 1295686"/>
              <a:gd name="connsiteY26" fmla="*/ 165354 h 270035"/>
              <a:gd name="connsiteX27" fmla="*/ 1295686 w 1295686"/>
              <a:gd name="connsiteY27" fmla="*/ 266700 h 270035"/>
              <a:gd name="connsiteX28" fmla="*/ 1254538 w 1295686"/>
              <a:gd name="connsiteY28" fmla="*/ 266700 h 270035"/>
              <a:gd name="connsiteX29" fmla="*/ 1254538 w 1295686"/>
              <a:gd name="connsiteY29" fmla="*/ 235458 h 270035"/>
              <a:gd name="connsiteX30" fmla="*/ 1189292 w 1295686"/>
              <a:gd name="connsiteY30" fmla="*/ 269558 h 270035"/>
              <a:gd name="connsiteX31" fmla="*/ 1083278 w 1295686"/>
              <a:gd name="connsiteY31" fmla="*/ 156591 h 270035"/>
              <a:gd name="connsiteX32" fmla="*/ 1181005 w 1295686"/>
              <a:gd name="connsiteY32" fmla="*/ 57531 h 270035"/>
              <a:gd name="connsiteX33" fmla="*/ 956311 w 1295686"/>
              <a:gd name="connsiteY33" fmla="*/ 57246 h 270035"/>
              <a:gd name="connsiteX34" fmla="*/ 956311 w 1295686"/>
              <a:gd name="connsiteY34" fmla="*/ 57341 h 270035"/>
              <a:gd name="connsiteX35" fmla="*/ 1064134 w 1295686"/>
              <a:gd name="connsiteY35" fmla="*/ 151924 h 270035"/>
              <a:gd name="connsiteX36" fmla="*/ 904876 w 1295686"/>
              <a:gd name="connsiteY36" fmla="*/ 195359 h 270035"/>
              <a:gd name="connsiteX37" fmla="*/ 970503 w 1295686"/>
              <a:gd name="connsiteY37" fmla="*/ 227172 h 270035"/>
              <a:gd name="connsiteX38" fmla="*/ 1016413 w 1295686"/>
              <a:gd name="connsiteY38" fmla="*/ 191930 h 270035"/>
              <a:gd name="connsiteX39" fmla="*/ 1057371 w 1295686"/>
              <a:gd name="connsiteY39" fmla="*/ 204121 h 270035"/>
              <a:gd name="connsiteX40" fmla="*/ 958787 w 1295686"/>
              <a:gd name="connsiteY40" fmla="*/ 270035 h 270035"/>
              <a:gd name="connsiteX41" fmla="*/ 852488 w 1295686"/>
              <a:gd name="connsiteY41" fmla="*/ 164593 h 270035"/>
              <a:gd name="connsiteX42" fmla="*/ 956311 w 1295686"/>
              <a:gd name="connsiteY42" fmla="*/ 57246 h 270035"/>
              <a:gd name="connsiteX43" fmla="*/ 366903 w 1295686"/>
              <a:gd name="connsiteY43" fmla="*/ 57055 h 270035"/>
              <a:gd name="connsiteX44" fmla="*/ 473298 w 1295686"/>
              <a:gd name="connsiteY44" fmla="*/ 163449 h 270035"/>
              <a:gd name="connsiteX45" fmla="*/ 366903 w 1295686"/>
              <a:gd name="connsiteY45" fmla="*/ 269844 h 270035"/>
              <a:gd name="connsiteX46" fmla="*/ 260509 w 1295686"/>
              <a:gd name="connsiteY46" fmla="*/ 163449 h 270035"/>
              <a:gd name="connsiteX47" fmla="*/ 366903 w 1295686"/>
              <a:gd name="connsiteY47" fmla="*/ 57055 h 270035"/>
              <a:gd name="connsiteX48" fmla="*/ 605885 w 1295686"/>
              <a:gd name="connsiteY48" fmla="*/ 56769 h 270035"/>
              <a:gd name="connsiteX49" fmla="*/ 605885 w 1295686"/>
              <a:gd name="connsiteY49" fmla="*/ 100393 h 270035"/>
              <a:gd name="connsiteX50" fmla="*/ 605981 w 1295686"/>
              <a:gd name="connsiteY50" fmla="*/ 100393 h 270035"/>
              <a:gd name="connsiteX51" fmla="*/ 547307 w 1295686"/>
              <a:gd name="connsiteY51" fmla="*/ 167164 h 270035"/>
              <a:gd name="connsiteX52" fmla="*/ 547402 w 1295686"/>
              <a:gd name="connsiteY52" fmla="*/ 266795 h 270035"/>
              <a:gd name="connsiteX53" fmla="*/ 500920 w 1295686"/>
              <a:gd name="connsiteY53" fmla="*/ 266795 h 270035"/>
              <a:gd name="connsiteX54" fmla="*/ 500920 w 1295686"/>
              <a:gd name="connsiteY54" fmla="*/ 63722 h 270035"/>
              <a:gd name="connsiteX55" fmla="*/ 546164 w 1295686"/>
              <a:gd name="connsiteY55" fmla="*/ 63722 h 270035"/>
              <a:gd name="connsiteX56" fmla="*/ 546164 w 1295686"/>
              <a:gd name="connsiteY56" fmla="*/ 87154 h 270035"/>
              <a:gd name="connsiteX57" fmla="*/ 605885 w 1295686"/>
              <a:gd name="connsiteY57" fmla="*/ 56769 h 270035"/>
              <a:gd name="connsiteX58" fmla="*/ 0 w 1295686"/>
              <a:gd name="connsiteY58" fmla="*/ 21622 h 270035"/>
              <a:gd name="connsiteX59" fmla="*/ 47339 w 1295686"/>
              <a:gd name="connsiteY59" fmla="*/ 21622 h 270035"/>
              <a:gd name="connsiteX60" fmla="*/ 186214 w 1295686"/>
              <a:gd name="connsiteY60" fmla="*/ 185166 h 270035"/>
              <a:gd name="connsiteX61" fmla="*/ 186214 w 1295686"/>
              <a:gd name="connsiteY61" fmla="*/ 21622 h 270035"/>
              <a:gd name="connsiteX62" fmla="*/ 233077 w 1295686"/>
              <a:gd name="connsiteY62" fmla="*/ 21622 h 270035"/>
              <a:gd name="connsiteX63" fmla="*/ 232982 w 1295686"/>
              <a:gd name="connsiteY63" fmla="*/ 266700 h 270035"/>
              <a:gd name="connsiteX64" fmla="*/ 189548 w 1295686"/>
              <a:gd name="connsiteY64" fmla="*/ 266700 h 270035"/>
              <a:gd name="connsiteX65" fmla="*/ 48959 w 1295686"/>
              <a:gd name="connsiteY65" fmla="*/ 102680 h 270035"/>
              <a:gd name="connsiteX66" fmla="*/ 48959 w 1295686"/>
              <a:gd name="connsiteY66" fmla="*/ 266414 h 270035"/>
              <a:gd name="connsiteX67" fmla="*/ 0 w 1295686"/>
              <a:gd name="connsiteY67" fmla="*/ 266414 h 270035"/>
              <a:gd name="connsiteX68" fmla="*/ 780098 w 1295686"/>
              <a:gd name="connsiteY68" fmla="*/ 0 h 270035"/>
              <a:gd name="connsiteX69" fmla="*/ 823722 w 1295686"/>
              <a:gd name="connsiteY69" fmla="*/ 0 h 270035"/>
              <a:gd name="connsiteX70" fmla="*/ 823722 w 1295686"/>
              <a:gd name="connsiteY70" fmla="*/ 161449 h 270035"/>
              <a:gd name="connsiteX71" fmla="*/ 823722 w 1295686"/>
              <a:gd name="connsiteY71" fmla="*/ 163449 h 270035"/>
              <a:gd name="connsiteX72" fmla="*/ 823722 w 1295686"/>
              <a:gd name="connsiteY72" fmla="*/ 165449 h 270035"/>
              <a:gd name="connsiteX73" fmla="*/ 823722 w 1295686"/>
              <a:gd name="connsiteY73" fmla="*/ 266795 h 270035"/>
              <a:gd name="connsiteX74" fmla="*/ 782765 w 1295686"/>
              <a:gd name="connsiteY74" fmla="*/ 266795 h 270035"/>
              <a:gd name="connsiteX75" fmla="*/ 782765 w 1295686"/>
              <a:gd name="connsiteY75" fmla="*/ 239649 h 270035"/>
              <a:gd name="connsiteX76" fmla="*/ 717519 w 1295686"/>
              <a:gd name="connsiteY76" fmla="*/ 269748 h 270035"/>
              <a:gd name="connsiteX77" fmla="*/ 611505 w 1295686"/>
              <a:gd name="connsiteY77" fmla="*/ 156591 h 270035"/>
              <a:gd name="connsiteX78" fmla="*/ 709232 w 1295686"/>
              <a:gd name="connsiteY78" fmla="*/ 57531 h 270035"/>
              <a:gd name="connsiteX79" fmla="*/ 780098 w 1295686"/>
              <a:gd name="connsiteY79" fmla="*/ 79819 h 27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95686" h="270035">
                <a:moveTo>
                  <a:pt x="1189292" y="102299"/>
                </a:moveTo>
                <a:cubicBezTo>
                  <a:pt x="1153192" y="102299"/>
                  <a:pt x="1124426" y="133636"/>
                  <a:pt x="1128522" y="170593"/>
                </a:cubicBezTo>
                <a:cubicBezTo>
                  <a:pt x="1131665" y="198215"/>
                  <a:pt x="1153859" y="220790"/>
                  <a:pt x="1181576" y="224219"/>
                </a:cubicBezTo>
                <a:cubicBezTo>
                  <a:pt x="1217771" y="228695"/>
                  <a:pt x="1248728" y="201549"/>
                  <a:pt x="1250537" y="166688"/>
                </a:cubicBezTo>
                <a:lnTo>
                  <a:pt x="1250442" y="166688"/>
                </a:lnTo>
                <a:lnTo>
                  <a:pt x="1250442" y="160306"/>
                </a:lnTo>
                <a:cubicBezTo>
                  <a:pt x="1248728" y="128016"/>
                  <a:pt x="1222058" y="102299"/>
                  <a:pt x="1189292" y="102299"/>
                </a:cubicBezTo>
                <a:close/>
                <a:moveTo>
                  <a:pt x="717519" y="102299"/>
                </a:moveTo>
                <a:cubicBezTo>
                  <a:pt x="681419" y="102299"/>
                  <a:pt x="652653" y="133636"/>
                  <a:pt x="656749" y="170593"/>
                </a:cubicBezTo>
                <a:cubicBezTo>
                  <a:pt x="659892" y="198215"/>
                  <a:pt x="682086" y="220789"/>
                  <a:pt x="709803" y="224218"/>
                </a:cubicBezTo>
                <a:cubicBezTo>
                  <a:pt x="745998" y="228695"/>
                  <a:pt x="776955" y="201549"/>
                  <a:pt x="778764" y="166687"/>
                </a:cubicBezTo>
                <a:lnTo>
                  <a:pt x="778669" y="166687"/>
                </a:lnTo>
                <a:lnTo>
                  <a:pt x="778669" y="160306"/>
                </a:lnTo>
                <a:cubicBezTo>
                  <a:pt x="776955" y="128016"/>
                  <a:pt x="750285" y="102299"/>
                  <a:pt x="717519" y="102299"/>
                </a:cubicBezTo>
                <a:close/>
                <a:moveTo>
                  <a:pt x="366808" y="102299"/>
                </a:moveTo>
                <a:cubicBezTo>
                  <a:pt x="333089" y="102299"/>
                  <a:pt x="305657" y="129731"/>
                  <a:pt x="305657" y="163449"/>
                </a:cubicBezTo>
                <a:cubicBezTo>
                  <a:pt x="305657" y="197168"/>
                  <a:pt x="332994" y="224600"/>
                  <a:pt x="366808" y="224600"/>
                </a:cubicBezTo>
                <a:cubicBezTo>
                  <a:pt x="400527" y="224600"/>
                  <a:pt x="427958" y="197168"/>
                  <a:pt x="427958" y="163449"/>
                </a:cubicBezTo>
                <a:cubicBezTo>
                  <a:pt x="427958" y="129731"/>
                  <a:pt x="400527" y="102299"/>
                  <a:pt x="366808" y="102299"/>
                </a:cubicBezTo>
                <a:close/>
                <a:moveTo>
                  <a:pt x="962039" y="96385"/>
                </a:moveTo>
                <a:cubicBezTo>
                  <a:pt x="954578" y="96227"/>
                  <a:pt x="946666" y="97513"/>
                  <a:pt x="938499" y="100585"/>
                </a:cubicBezTo>
                <a:cubicBezTo>
                  <a:pt x="909733" y="111348"/>
                  <a:pt x="896779" y="136875"/>
                  <a:pt x="896779" y="159068"/>
                </a:cubicBezTo>
                <a:lnTo>
                  <a:pt x="896779" y="159164"/>
                </a:lnTo>
                <a:lnTo>
                  <a:pt x="1011746" y="127541"/>
                </a:lnTo>
                <a:cubicBezTo>
                  <a:pt x="1002744" y="110324"/>
                  <a:pt x="984421" y="96858"/>
                  <a:pt x="962039" y="96385"/>
                </a:cubicBezTo>
                <a:close/>
                <a:moveTo>
                  <a:pt x="1181005" y="57436"/>
                </a:moveTo>
                <a:cubicBezTo>
                  <a:pt x="1242060" y="52673"/>
                  <a:pt x="1295686" y="99346"/>
                  <a:pt x="1295686" y="165354"/>
                </a:cubicBezTo>
                <a:lnTo>
                  <a:pt x="1295686" y="266700"/>
                </a:lnTo>
                <a:lnTo>
                  <a:pt x="1254538" y="266700"/>
                </a:lnTo>
                <a:lnTo>
                  <a:pt x="1254538" y="235458"/>
                </a:lnTo>
                <a:cubicBezTo>
                  <a:pt x="1241108" y="258604"/>
                  <a:pt x="1211295" y="269558"/>
                  <a:pt x="1189292" y="269558"/>
                </a:cubicBezTo>
                <a:cubicBezTo>
                  <a:pt x="1128332" y="269558"/>
                  <a:pt x="1079373" y="218408"/>
                  <a:pt x="1083278" y="156591"/>
                </a:cubicBezTo>
                <a:cubicBezTo>
                  <a:pt x="1086612" y="104299"/>
                  <a:pt x="1128236" y="61627"/>
                  <a:pt x="1181005" y="57531"/>
                </a:cubicBezTo>
                <a:close/>
                <a:moveTo>
                  <a:pt x="956311" y="57246"/>
                </a:moveTo>
                <a:lnTo>
                  <a:pt x="956311" y="57341"/>
                </a:lnTo>
                <a:cubicBezTo>
                  <a:pt x="1023557" y="55436"/>
                  <a:pt x="1059466" y="111062"/>
                  <a:pt x="1064134" y="151924"/>
                </a:cubicBezTo>
                <a:lnTo>
                  <a:pt x="904876" y="195359"/>
                </a:lnTo>
                <a:cubicBezTo>
                  <a:pt x="915258" y="214980"/>
                  <a:pt x="941737" y="232506"/>
                  <a:pt x="970503" y="227172"/>
                </a:cubicBezTo>
                <a:cubicBezTo>
                  <a:pt x="991077" y="223267"/>
                  <a:pt x="1008984" y="208693"/>
                  <a:pt x="1016413" y="191930"/>
                </a:cubicBezTo>
                <a:lnTo>
                  <a:pt x="1057371" y="204121"/>
                </a:lnTo>
                <a:cubicBezTo>
                  <a:pt x="1041274" y="244889"/>
                  <a:pt x="1000507" y="270035"/>
                  <a:pt x="958787" y="270035"/>
                </a:cubicBezTo>
                <a:cubicBezTo>
                  <a:pt x="898970" y="270035"/>
                  <a:pt x="852488" y="222029"/>
                  <a:pt x="852488" y="164593"/>
                </a:cubicBezTo>
                <a:cubicBezTo>
                  <a:pt x="852488" y="102299"/>
                  <a:pt x="900494" y="58770"/>
                  <a:pt x="956311" y="57246"/>
                </a:cubicBezTo>
                <a:close/>
                <a:moveTo>
                  <a:pt x="366903" y="57055"/>
                </a:moveTo>
                <a:cubicBezTo>
                  <a:pt x="425673" y="57055"/>
                  <a:pt x="473298" y="104680"/>
                  <a:pt x="473298" y="163449"/>
                </a:cubicBezTo>
                <a:cubicBezTo>
                  <a:pt x="473298" y="222219"/>
                  <a:pt x="425673" y="269844"/>
                  <a:pt x="366903" y="269844"/>
                </a:cubicBezTo>
                <a:cubicBezTo>
                  <a:pt x="308134" y="269844"/>
                  <a:pt x="260509" y="222219"/>
                  <a:pt x="260509" y="163449"/>
                </a:cubicBezTo>
                <a:cubicBezTo>
                  <a:pt x="260509" y="104680"/>
                  <a:pt x="308134" y="57055"/>
                  <a:pt x="366903" y="57055"/>
                </a:cubicBezTo>
                <a:close/>
                <a:moveTo>
                  <a:pt x="605885" y="56769"/>
                </a:moveTo>
                <a:lnTo>
                  <a:pt x="605885" y="100393"/>
                </a:lnTo>
                <a:lnTo>
                  <a:pt x="605981" y="100393"/>
                </a:lnTo>
                <a:cubicBezTo>
                  <a:pt x="574453" y="102013"/>
                  <a:pt x="547307" y="120301"/>
                  <a:pt x="547307" y="167164"/>
                </a:cubicBezTo>
                <a:cubicBezTo>
                  <a:pt x="547307" y="205073"/>
                  <a:pt x="547402" y="204025"/>
                  <a:pt x="547402" y="266795"/>
                </a:cubicBezTo>
                <a:lnTo>
                  <a:pt x="500920" y="266795"/>
                </a:lnTo>
                <a:lnTo>
                  <a:pt x="500920" y="63722"/>
                </a:lnTo>
                <a:lnTo>
                  <a:pt x="546164" y="63722"/>
                </a:lnTo>
                <a:lnTo>
                  <a:pt x="546164" y="87154"/>
                </a:lnTo>
                <a:cubicBezTo>
                  <a:pt x="552069" y="76295"/>
                  <a:pt x="566166" y="56769"/>
                  <a:pt x="605885" y="56769"/>
                </a:cubicBezTo>
                <a:close/>
                <a:moveTo>
                  <a:pt x="0" y="21622"/>
                </a:moveTo>
                <a:lnTo>
                  <a:pt x="47339" y="21622"/>
                </a:lnTo>
                <a:lnTo>
                  <a:pt x="186214" y="185166"/>
                </a:lnTo>
                <a:lnTo>
                  <a:pt x="186214" y="21622"/>
                </a:lnTo>
                <a:lnTo>
                  <a:pt x="233077" y="21622"/>
                </a:lnTo>
                <a:lnTo>
                  <a:pt x="232982" y="266700"/>
                </a:lnTo>
                <a:lnTo>
                  <a:pt x="189548" y="266700"/>
                </a:lnTo>
                <a:lnTo>
                  <a:pt x="48959" y="102680"/>
                </a:lnTo>
                <a:lnTo>
                  <a:pt x="48959" y="266414"/>
                </a:lnTo>
                <a:lnTo>
                  <a:pt x="0" y="266414"/>
                </a:lnTo>
                <a:close/>
                <a:moveTo>
                  <a:pt x="780098" y="0"/>
                </a:moveTo>
                <a:lnTo>
                  <a:pt x="823722" y="0"/>
                </a:lnTo>
                <a:lnTo>
                  <a:pt x="823722" y="161449"/>
                </a:lnTo>
                <a:cubicBezTo>
                  <a:pt x="823722" y="162115"/>
                  <a:pt x="823722" y="162782"/>
                  <a:pt x="823722" y="163449"/>
                </a:cubicBezTo>
                <a:cubicBezTo>
                  <a:pt x="823722" y="164116"/>
                  <a:pt x="823722" y="164783"/>
                  <a:pt x="823722" y="165449"/>
                </a:cubicBezTo>
                <a:lnTo>
                  <a:pt x="823722" y="266795"/>
                </a:lnTo>
                <a:cubicBezTo>
                  <a:pt x="823722" y="266795"/>
                  <a:pt x="782765" y="266795"/>
                  <a:pt x="782765" y="266795"/>
                </a:cubicBezTo>
                <a:lnTo>
                  <a:pt x="782765" y="239649"/>
                </a:lnTo>
                <a:cubicBezTo>
                  <a:pt x="771906" y="258889"/>
                  <a:pt x="740283" y="269748"/>
                  <a:pt x="717519" y="269748"/>
                </a:cubicBezTo>
                <a:cubicBezTo>
                  <a:pt x="656559" y="269748"/>
                  <a:pt x="607600" y="218408"/>
                  <a:pt x="611505" y="156591"/>
                </a:cubicBezTo>
                <a:cubicBezTo>
                  <a:pt x="614839" y="104299"/>
                  <a:pt x="656940" y="61722"/>
                  <a:pt x="709232" y="57531"/>
                </a:cubicBezTo>
                <a:cubicBezTo>
                  <a:pt x="737235" y="55245"/>
                  <a:pt x="769716" y="66104"/>
                  <a:pt x="780098" y="79819"/>
                </a:cubicBezTo>
                <a:close/>
              </a:path>
            </a:pathLst>
          </a:custGeom>
          <a:solidFill>
            <a:schemeClr val="bg1"/>
          </a:soli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608243811"/>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p>
        </p:txBody>
      </p:sp>
      <p:sp>
        <p:nvSpPr>
          <p:cNvPr id="3" name="Content Placeholder 2"/>
          <p:cNvSpPr>
            <a:spLocks noGrp="1"/>
          </p:cNvSpPr>
          <p:nvPr>
            <p:ph sz="half" idx="1"/>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6" name="Content Placeholder 3"/>
          <p:cNvSpPr>
            <a:spLocks noGrp="1"/>
          </p:cNvSpPr>
          <p:nvPr>
            <p:ph sz="half" idx="13"/>
          </p:nvPr>
        </p:nvSpPr>
        <p:spPr>
          <a:xfrm>
            <a:off x="8067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p:cNvSpPr>
            <a:spLocks noGrp="1"/>
          </p:cNvSpPr>
          <p:nvPr>
            <p:ph type="ftr" sz="quarter" idx="14"/>
          </p:nvPr>
        </p:nvSpPr>
        <p:spPr/>
        <p:txBody>
          <a:bodyPr/>
          <a:lstStyle/>
          <a:p>
            <a:endParaRPr lang="en-GB"/>
          </a:p>
        </p:txBody>
      </p:sp>
    </p:spTree>
    <p:extLst>
      <p:ext uri="{BB962C8B-B14F-4D97-AF65-F5344CB8AC3E}">
        <p14:creationId xmlns:p14="http://schemas.microsoft.com/office/powerpoint/2010/main" val="3451785557"/>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p>
        </p:txBody>
      </p:sp>
      <p:sp>
        <p:nvSpPr>
          <p:cNvPr id="5" name="Slide Number Placeholder 4"/>
          <p:cNvSpPr>
            <a:spLocks noGrp="1"/>
          </p:cNvSpPr>
          <p:nvPr>
            <p:ph type="sldNum" sz="quarter" idx="12"/>
          </p:nvPr>
        </p:nvSpPr>
        <p:spPr/>
        <p:txBody>
          <a:bodyPr/>
          <a:lstStyle/>
          <a:p>
            <a:fld id="{D14BCCD3-0010-4FBA-B965-2126ADC31932}" type="slidenum">
              <a:rPr lang="en-GB" smtClean="0"/>
              <a:t>‹#›</a:t>
            </a:fld>
            <a:endParaRPr lang="en-GB"/>
          </a:p>
        </p:txBody>
      </p:sp>
      <p:sp>
        <p:nvSpPr>
          <p:cNvPr id="3" name="Footer Placeholder 2"/>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3627755397"/>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14BCCD3-0010-4FBA-B965-2126ADC31932}" type="slidenum">
              <a:rPr lang="en-GB" smtClean="0"/>
              <a:t>‹#›</a:t>
            </a:fld>
            <a:endParaRPr lang="en-GB"/>
          </a:p>
        </p:txBody>
      </p:sp>
      <p:sp>
        <p:nvSpPr>
          <p:cNvPr id="2" name="Footer Placeholder 1"/>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1434500126"/>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p>
        </p:txBody>
      </p:sp>
      <p:sp>
        <p:nvSpPr>
          <p:cNvPr id="4" name="Content Placeholder 3"/>
          <p:cNvSpPr>
            <a:spLocks noGrp="1"/>
          </p:cNvSpPr>
          <p:nvPr>
            <p:ph sz="half" idx="2"/>
          </p:nvPr>
        </p:nvSpPr>
        <p:spPr>
          <a:xfrm>
            <a:off x="6192000" y="1332000"/>
            <a:ext cx="5364000" cy="44316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10" name="Picture Placeholder 9"/>
          <p:cNvSpPr>
            <a:spLocks noGrp="1"/>
          </p:cNvSpPr>
          <p:nvPr>
            <p:ph type="pic" sz="quarter" idx="14" hasCustomPrompt="1"/>
          </p:nvPr>
        </p:nvSpPr>
        <p:spPr>
          <a:xfrm>
            <a:off x="648000" y="1332000"/>
            <a:ext cx="5364000" cy="4428000"/>
          </a:xfrm>
          <a:solidFill>
            <a:schemeClr val="bg1">
              <a:lumMod val="95000"/>
            </a:schemeClr>
          </a:solidFill>
        </p:spPr>
        <p:txBody>
          <a:bodyPr anchor="ctr" anchorCtr="0"/>
          <a:lstStyle>
            <a:lvl1pPr marL="0" indent="0" algn="ctr">
              <a:buFontTx/>
              <a:buNone/>
              <a:defRPr/>
            </a:lvl1pPr>
          </a:lstStyle>
          <a:p>
            <a:r>
              <a:rPr lang="en-GB"/>
              <a:t>Picture</a:t>
            </a:r>
          </a:p>
        </p:txBody>
      </p:sp>
      <p:sp>
        <p:nvSpPr>
          <p:cNvPr id="6" name="Footer Placeholder 5"/>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738697345"/>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a:t>Click to edit Master title style</a:t>
            </a:r>
          </a:p>
        </p:txBody>
      </p:sp>
      <p:sp>
        <p:nvSpPr>
          <p:cNvPr id="4" name="Content Placeholder 3"/>
          <p:cNvSpPr>
            <a:spLocks noGrp="1"/>
          </p:cNvSpPr>
          <p:nvPr>
            <p:ph sz="half" idx="2"/>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10" name="Picture Placeholder 9"/>
          <p:cNvSpPr>
            <a:spLocks noGrp="1"/>
          </p:cNvSpPr>
          <p:nvPr>
            <p:ph type="pic" sz="quarter" idx="14" hasCustomPrompt="1"/>
          </p:nvPr>
        </p:nvSpPr>
        <p:spPr>
          <a:xfrm>
            <a:off x="6192000" y="1332000"/>
            <a:ext cx="5364000" cy="4428000"/>
          </a:xfrm>
          <a:solidFill>
            <a:schemeClr val="bg1">
              <a:lumMod val="95000"/>
            </a:schemeClr>
          </a:solidFill>
        </p:spPr>
        <p:txBody>
          <a:bodyPr anchor="ctr" anchorCtr="0"/>
          <a:lstStyle>
            <a:lvl1pPr marL="0" indent="0" algn="ctr">
              <a:buFontTx/>
              <a:buNone/>
              <a:defRPr/>
            </a:lvl1pPr>
          </a:lstStyle>
          <a:p>
            <a:r>
              <a:rPr lang="en-GB"/>
              <a:t>Picture</a:t>
            </a:r>
          </a:p>
        </p:txBody>
      </p:sp>
      <p:sp>
        <p:nvSpPr>
          <p:cNvPr id="3" name="Footer Placeholder 2"/>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889798226"/>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a:t>Click to edit Master title style</a:t>
            </a:r>
          </a:p>
        </p:txBody>
      </p:sp>
      <p:sp>
        <p:nvSpPr>
          <p:cNvPr id="4" name="Content Placeholder 3"/>
          <p:cNvSpPr>
            <a:spLocks noGrp="1"/>
          </p:cNvSpPr>
          <p:nvPr>
            <p:ph sz="half" idx="2"/>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10" name="Picture Placeholder 9"/>
          <p:cNvSpPr>
            <a:spLocks noGrp="1"/>
          </p:cNvSpPr>
          <p:nvPr>
            <p:ph type="pic" sz="quarter" idx="14" hasCustomPrompt="1"/>
          </p:nvPr>
        </p:nvSpPr>
        <p:spPr>
          <a:xfrm>
            <a:off x="8067600" y="1332000"/>
            <a:ext cx="3492000" cy="2124000"/>
          </a:xfrm>
          <a:solidFill>
            <a:schemeClr val="bg1">
              <a:lumMod val="95000"/>
            </a:schemeClr>
          </a:solidFill>
        </p:spPr>
        <p:txBody>
          <a:bodyPr anchor="ctr" anchorCtr="0"/>
          <a:lstStyle>
            <a:lvl1pPr marL="0" indent="0" algn="ctr">
              <a:buFontTx/>
              <a:buNone/>
              <a:defRPr/>
            </a:lvl1pPr>
          </a:lstStyle>
          <a:p>
            <a:r>
              <a:rPr lang="en-GB"/>
              <a:t>Picture</a:t>
            </a:r>
          </a:p>
        </p:txBody>
      </p:sp>
      <p:sp>
        <p:nvSpPr>
          <p:cNvPr id="8" name="Content Placeholder 3"/>
          <p:cNvSpPr>
            <a:spLocks noGrp="1"/>
          </p:cNvSpPr>
          <p:nvPr>
            <p:ph sz="half" idx="15"/>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Picture Placeholder 9"/>
          <p:cNvSpPr>
            <a:spLocks noGrp="1"/>
          </p:cNvSpPr>
          <p:nvPr>
            <p:ph type="pic" sz="quarter" idx="16" hasCustomPrompt="1"/>
          </p:nvPr>
        </p:nvSpPr>
        <p:spPr>
          <a:xfrm>
            <a:off x="8067600" y="3636000"/>
            <a:ext cx="3492000" cy="2124000"/>
          </a:xfrm>
          <a:solidFill>
            <a:schemeClr val="bg1">
              <a:lumMod val="95000"/>
            </a:schemeClr>
          </a:solidFill>
        </p:spPr>
        <p:txBody>
          <a:bodyPr anchor="ctr" anchorCtr="0"/>
          <a:lstStyle>
            <a:lvl1pPr marL="0" indent="0" algn="ctr">
              <a:buFontTx/>
              <a:buNone/>
              <a:defRPr/>
            </a:lvl1pPr>
          </a:lstStyle>
          <a:p>
            <a:r>
              <a:rPr lang="en-GB"/>
              <a:t>Picture</a:t>
            </a:r>
          </a:p>
        </p:txBody>
      </p:sp>
      <p:sp>
        <p:nvSpPr>
          <p:cNvPr id="5" name="Footer Placeholder 4"/>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1810932327"/>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8000" y="1980000"/>
            <a:ext cx="10908000" cy="3780000"/>
          </a:xfrm>
          <a:solidFill>
            <a:schemeClr val="bg1">
              <a:lumMod val="95000"/>
            </a:schemeClr>
          </a:solidFill>
        </p:spPr>
        <p:txBody>
          <a:bodyPr anchor="ctr" anchorCtr="0"/>
          <a:lstStyle>
            <a:lvl1pPr marL="0" indent="0" algn="ctr">
              <a:buFontTx/>
              <a:buNone/>
              <a:defRPr/>
            </a:lvl1pPr>
          </a:lstStyle>
          <a:p>
            <a:r>
              <a:rPr lang="en-GB"/>
              <a:t>Picture</a:t>
            </a:r>
          </a:p>
        </p:txBody>
      </p:sp>
      <p:sp>
        <p:nvSpPr>
          <p:cNvPr id="2" name="Title 1"/>
          <p:cNvSpPr>
            <a:spLocks noGrp="1"/>
          </p:cNvSpPr>
          <p:nvPr>
            <p:ph type="title"/>
          </p:nvPr>
        </p:nvSpPr>
        <p:spPr>
          <a:xfrm>
            <a:off x="2496600" y="397565"/>
            <a:ext cx="7200000" cy="943998"/>
          </a:xfrm>
        </p:spPr>
        <p:txBody>
          <a:bodyPr>
            <a:noAutofit/>
          </a:bodyPr>
          <a:lstStyle>
            <a:lvl1pPr algn="ctr">
              <a:defRPr sz="3000"/>
            </a:lvl1pPr>
          </a:lstStyle>
          <a:p>
            <a:r>
              <a:rPr lang="en-GB"/>
              <a:t>Click to edit Master title style</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Click to add subtitle</a:t>
            </a:r>
          </a:p>
        </p:txBody>
      </p:sp>
      <p:sp>
        <p:nvSpPr>
          <p:cNvPr id="4" name="Footer Placeholder 3"/>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1055846138"/>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2" name="Title 1"/>
          <p:cNvSpPr>
            <a:spLocks noGrp="1"/>
          </p:cNvSpPr>
          <p:nvPr>
            <p:ph type="title"/>
          </p:nvPr>
        </p:nvSpPr>
        <p:spPr>
          <a:xfrm>
            <a:off x="2496600" y="397565"/>
            <a:ext cx="7200000" cy="943998"/>
          </a:xfrm>
        </p:spPr>
        <p:txBody>
          <a:bodyPr>
            <a:noAutofit/>
          </a:bodyPr>
          <a:lstStyle>
            <a:lvl1pPr algn="ctr">
              <a:defRPr sz="3000"/>
            </a:lvl1pPr>
          </a:lstStyle>
          <a:p>
            <a:r>
              <a:rPr lang="en-GB"/>
              <a:t>Click to edit Master title style</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Click to add subtitle</a:t>
            </a:r>
          </a:p>
        </p:txBody>
      </p:sp>
      <p:sp>
        <p:nvSpPr>
          <p:cNvPr id="10" name="Picture Placeholder 9"/>
          <p:cNvSpPr>
            <a:spLocks noGrp="1"/>
          </p:cNvSpPr>
          <p:nvPr>
            <p:ph type="pic" sz="quarter" idx="14" hasCustomPrompt="1"/>
          </p:nvPr>
        </p:nvSpPr>
        <p:spPr>
          <a:xfrm>
            <a:off x="2407371" y="1989634"/>
            <a:ext cx="1746000" cy="1980000"/>
          </a:xfrm>
          <a:solidFill>
            <a:schemeClr val="bg1">
              <a:lumMod val="95000"/>
            </a:schemeClr>
          </a:solidFill>
        </p:spPr>
        <p:txBody>
          <a:bodyPr anchor="ctr" anchorCtr="0"/>
          <a:lstStyle>
            <a:lvl1pPr marL="0" indent="0" algn="ctr">
              <a:buFontTx/>
              <a:buNone/>
              <a:defRPr/>
            </a:lvl1pPr>
          </a:lstStyle>
          <a:p>
            <a:r>
              <a:rPr lang="en-GB"/>
              <a:t>Picture</a:t>
            </a:r>
          </a:p>
        </p:txBody>
      </p:sp>
      <p:sp>
        <p:nvSpPr>
          <p:cNvPr id="8" name="Picture Placeholder 9"/>
          <p:cNvSpPr>
            <a:spLocks noGrp="1"/>
          </p:cNvSpPr>
          <p:nvPr>
            <p:ph type="pic" sz="quarter" idx="15" hasCustomPrompt="1"/>
          </p:nvPr>
        </p:nvSpPr>
        <p:spPr>
          <a:xfrm>
            <a:off x="4368800" y="1989634"/>
            <a:ext cx="3489325" cy="3024000"/>
          </a:xfrm>
          <a:solidFill>
            <a:schemeClr val="bg1">
              <a:lumMod val="95000"/>
            </a:schemeClr>
          </a:solidFill>
        </p:spPr>
        <p:txBody>
          <a:bodyPr anchor="ctr" anchorCtr="0"/>
          <a:lstStyle>
            <a:lvl1pPr marL="0" indent="0" algn="ctr">
              <a:buFontTx/>
              <a:buNone/>
              <a:defRPr/>
            </a:lvl1pPr>
          </a:lstStyle>
          <a:p>
            <a:r>
              <a:rPr lang="en-GB"/>
              <a:t>Picture</a:t>
            </a:r>
          </a:p>
        </p:txBody>
      </p:sp>
      <p:sp>
        <p:nvSpPr>
          <p:cNvPr id="11" name="Picture Placeholder 9"/>
          <p:cNvSpPr>
            <a:spLocks noGrp="1"/>
          </p:cNvSpPr>
          <p:nvPr>
            <p:ph type="pic" sz="quarter" idx="16" hasCustomPrompt="1"/>
          </p:nvPr>
        </p:nvSpPr>
        <p:spPr>
          <a:xfrm>
            <a:off x="8064000" y="1989634"/>
            <a:ext cx="2556000" cy="1980000"/>
          </a:xfrm>
          <a:solidFill>
            <a:schemeClr val="bg1">
              <a:lumMod val="95000"/>
            </a:schemeClr>
          </a:solidFill>
        </p:spPr>
        <p:txBody>
          <a:bodyPr anchor="ctr" anchorCtr="0"/>
          <a:lstStyle>
            <a:lvl1pPr marL="0" indent="0" algn="ctr">
              <a:buFontTx/>
              <a:buNone/>
              <a:defRPr/>
            </a:lvl1pPr>
          </a:lstStyle>
          <a:p>
            <a:r>
              <a:rPr lang="en-GB"/>
              <a:t>Picture</a:t>
            </a:r>
          </a:p>
        </p:txBody>
      </p:sp>
      <p:sp>
        <p:nvSpPr>
          <p:cNvPr id="12" name="Picture Placeholder 9"/>
          <p:cNvSpPr>
            <a:spLocks noGrp="1"/>
          </p:cNvSpPr>
          <p:nvPr>
            <p:ph type="pic" sz="quarter" idx="17" hasCustomPrompt="1"/>
          </p:nvPr>
        </p:nvSpPr>
        <p:spPr>
          <a:xfrm>
            <a:off x="8064000" y="4149874"/>
            <a:ext cx="1692000" cy="1332000"/>
          </a:xfrm>
          <a:solidFill>
            <a:schemeClr val="bg1">
              <a:lumMod val="95000"/>
            </a:schemeClr>
          </a:solidFill>
        </p:spPr>
        <p:txBody>
          <a:bodyPr anchor="ctr" anchorCtr="0"/>
          <a:lstStyle>
            <a:lvl1pPr marL="0" indent="0" algn="ctr">
              <a:buFontTx/>
              <a:buNone/>
              <a:defRPr/>
            </a:lvl1pPr>
          </a:lstStyle>
          <a:p>
            <a:r>
              <a:rPr lang="en-GB"/>
              <a:t>Picture</a:t>
            </a:r>
          </a:p>
        </p:txBody>
      </p:sp>
      <p:sp>
        <p:nvSpPr>
          <p:cNvPr id="4" name="Footer Placeholder 3"/>
          <p:cNvSpPr>
            <a:spLocks noGrp="1"/>
          </p:cNvSpPr>
          <p:nvPr>
            <p:ph type="ftr" sz="quarter" idx="18"/>
          </p:nvPr>
        </p:nvSpPr>
        <p:spPr/>
        <p:txBody>
          <a:bodyPr/>
          <a:lstStyle/>
          <a:p>
            <a:endParaRPr lang="en-GB"/>
          </a:p>
        </p:txBody>
      </p:sp>
    </p:spTree>
    <p:extLst>
      <p:ext uri="{BB962C8B-B14F-4D97-AF65-F5344CB8AC3E}">
        <p14:creationId xmlns:p14="http://schemas.microsoft.com/office/powerpoint/2010/main" val="892780002"/>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mage and Heading">
    <p:bg>
      <p:bgPr>
        <a:solidFill>
          <a:schemeClr val="bg1">
            <a:lumMod val="95000"/>
          </a:schemeClr>
        </a:solidFill>
        <a:effectLst/>
      </p:bgPr>
    </p:bg>
    <p:spTree>
      <p:nvGrpSpPr>
        <p:cNvPr id="1" name=""/>
        <p:cNvGrpSpPr/>
        <p:nvPr/>
      </p:nvGrpSpPr>
      <p:grpSpPr>
        <a:xfrm>
          <a:off x="0" y="0"/>
          <a:ext cx="0" cy="0"/>
          <a:chOff x="0" y="0"/>
          <a:chExt cx="0" cy="0"/>
        </a:xfrm>
      </p:grpSpPr>
      <p:sp>
        <p:nvSpPr>
          <p:cNvPr id="28" name="Picture Placeholder 5"/>
          <p:cNvSpPr>
            <a:spLocks noGrp="1"/>
          </p:cNvSpPr>
          <p:nvPr>
            <p:ph type="pic" sz="quarter" idx="15" hasCustomPrompt="1"/>
          </p:nvPr>
        </p:nvSpPr>
        <p:spPr>
          <a:xfrm>
            <a:off x="0" y="0"/>
            <a:ext cx="12195175" cy="6859588"/>
          </a:xfrm>
          <a:noFill/>
        </p:spPr>
        <p:txBody>
          <a:bodyPr anchor="ctr" anchorCtr="0"/>
          <a:lstStyle>
            <a:lvl1pPr marL="0" indent="0" algn="ctr">
              <a:buNone/>
              <a:defRPr baseline="0">
                <a:solidFill>
                  <a:schemeClr val="tx1"/>
                </a:solidFill>
              </a:defRPr>
            </a:lvl1pPr>
          </a:lstStyle>
          <a:p>
            <a:r>
              <a:rPr lang="en-GB"/>
              <a:t>Insert picture by using Nordea Image Bank button</a:t>
            </a:r>
          </a:p>
        </p:txBody>
      </p:sp>
      <p:sp>
        <p:nvSpPr>
          <p:cNvPr id="2" name="Title 1"/>
          <p:cNvSpPr>
            <a:spLocks noGrp="1"/>
          </p:cNvSpPr>
          <p:nvPr>
            <p:ph type="ctrTitle"/>
          </p:nvPr>
        </p:nvSpPr>
        <p:spPr>
          <a:xfrm>
            <a:off x="648000" y="333450"/>
            <a:ext cx="7200000" cy="1009078"/>
          </a:xfrm>
        </p:spPr>
        <p:txBody>
          <a:bodyPr>
            <a:noAutofit/>
          </a:bodyPr>
          <a:lstStyle>
            <a:lvl1pPr>
              <a:defRPr sz="30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1510482"/>
            <a:ext cx="7200000" cy="68524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5" name="Platshållare för sidfot 4"/>
          <p:cNvSpPr>
            <a:spLocks noGrp="1"/>
          </p:cNvSpPr>
          <p:nvPr>
            <p:ph type="ftr" sz="quarter" idx="16"/>
          </p:nvPr>
        </p:nvSpPr>
        <p:spPr/>
        <p:txBody>
          <a:bodyPr/>
          <a:lstStyle>
            <a:lvl1pPr>
              <a:defRPr>
                <a:solidFill>
                  <a:srgbClr val="8B8A8D"/>
                </a:solidFill>
              </a:defRPr>
            </a:lvl1pPr>
          </a:lstStyle>
          <a:p>
            <a:endParaRPr lang="en-GB"/>
          </a:p>
        </p:txBody>
      </p:sp>
      <p:sp>
        <p:nvSpPr>
          <p:cNvPr id="6" name="Platshållare för bildnummer 5"/>
          <p:cNvSpPr>
            <a:spLocks noGrp="1"/>
          </p:cNvSpPr>
          <p:nvPr>
            <p:ph type="sldNum" sz="quarter" idx="17"/>
          </p:nvPr>
        </p:nvSpPr>
        <p:spPr/>
        <p:txBody>
          <a:bodyPr/>
          <a:lstStyle>
            <a:lvl1pPr>
              <a:defRPr>
                <a:solidFill>
                  <a:srgbClr val="8B8A8D"/>
                </a:solidFill>
              </a:defRPr>
            </a:lvl1pPr>
          </a:lstStyle>
          <a:p>
            <a:fld id="{D14BCCD3-0010-4FBA-B965-2126ADC31932}" type="slidenum">
              <a:rPr lang="en-GB" smtClean="0"/>
              <a:pPr/>
              <a:t>‹#›</a:t>
            </a:fld>
            <a:endParaRPr lang="en-GB"/>
          </a:p>
        </p:txBody>
      </p:sp>
      <p:cxnSp>
        <p:nvCxnSpPr>
          <p:cNvPr id="29" name="Line"/>
          <p:cNvCxnSpPr/>
          <p:nvPr userDrawn="1"/>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grpSp>
        <p:nvGrpSpPr>
          <p:cNvPr id="15" name="Logotype"/>
          <p:cNvGrpSpPr/>
          <p:nvPr userDrawn="1"/>
        </p:nvGrpSpPr>
        <p:grpSpPr>
          <a:xfrm>
            <a:off x="10689465" y="6389301"/>
            <a:ext cx="863687" cy="180102"/>
            <a:chOff x="9501453" y="6148765"/>
            <a:chExt cx="2047875" cy="427037"/>
          </a:xfrm>
        </p:grpSpPr>
        <p:sp>
          <p:nvSpPr>
            <p:cNvPr id="16"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68459123"/>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48800"/>
          </a:xfrm>
        </p:spPr>
        <p:txBody>
          <a:bodyPr>
            <a:noAutofit/>
          </a:bodyPr>
          <a:lstStyle>
            <a:lvl1pPr>
              <a:defRPr sz="24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33932239"/>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Imag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4959540"/>
            <a:ext cx="7200000" cy="617921"/>
          </a:xfrm>
        </p:spPr>
        <p:txBody>
          <a:bodyPr>
            <a:noAutofit/>
          </a:bodyPr>
          <a:lstStyle>
            <a:lvl1pPr>
              <a:defRPr sz="2400">
                <a:solidFill>
                  <a:srgbClr val="FBD9CA"/>
                </a:solidFill>
              </a:defRPr>
            </a:lvl1pPr>
          </a:lstStyle>
          <a:p>
            <a:r>
              <a:rPr lang="en-GB"/>
              <a:t>Click to edit Master title style</a:t>
            </a:r>
            <a:endParaRPr lang="en-GB" dirty="0"/>
          </a:p>
        </p:txBody>
      </p:sp>
      <p:sp>
        <p:nvSpPr>
          <p:cNvPr id="3" name="Subtitle 2"/>
          <p:cNvSpPr>
            <a:spLocks noGrp="1"/>
          </p:cNvSpPr>
          <p:nvPr>
            <p:ph type="subTitle" idx="1"/>
          </p:nvPr>
        </p:nvSpPr>
        <p:spPr>
          <a:xfrm>
            <a:off x="648000" y="5602855"/>
            <a:ext cx="7200000" cy="360083"/>
          </a:xfrm>
        </p:spPr>
        <p:txBody>
          <a:bodyPr>
            <a:noAutofit/>
          </a:bodyPr>
          <a:lstStyle>
            <a:lvl1pPr marL="0" indent="0" algn="l">
              <a:buNone/>
              <a:defRPr b="1">
                <a:solidFill>
                  <a:schemeClr val="bg1"/>
                </a:solidFill>
                <a:latin typeface="+mj-lt"/>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21" name="Text Placeholder 20"/>
          <p:cNvSpPr>
            <a:spLocks noGrp="1"/>
          </p:cNvSpPr>
          <p:nvPr>
            <p:ph type="body" sz="quarter" idx="13" hasCustomPrompt="1"/>
          </p:nvPr>
        </p:nvSpPr>
        <p:spPr>
          <a:xfrm>
            <a:off x="648000" y="6080977"/>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endParaRPr lang="en-GB" dirty="0"/>
          </a:p>
        </p:txBody>
      </p:sp>
      <p:sp>
        <p:nvSpPr>
          <p:cNvPr id="22" name="Text Placeholder 20"/>
          <p:cNvSpPr>
            <a:spLocks noGrp="1"/>
          </p:cNvSpPr>
          <p:nvPr>
            <p:ph type="body" sz="quarter" idx="14" hasCustomPrompt="1"/>
          </p:nvPr>
        </p:nvSpPr>
        <p:spPr>
          <a:xfrm>
            <a:off x="648000" y="6332977"/>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endParaRPr lang="en-GB" dirty="0"/>
          </a:p>
        </p:txBody>
      </p:sp>
      <p:sp>
        <p:nvSpPr>
          <p:cNvPr id="39" name="Picture Placeholder 38">
            <a:extLst>
              <a:ext uri="{FF2B5EF4-FFF2-40B4-BE49-F238E27FC236}">
                <a16:creationId xmlns:a16="http://schemas.microsoft.com/office/drawing/2014/main" id="{F7168929-C546-6900-44DB-CE0B16A737F4}"/>
              </a:ext>
            </a:extLst>
          </p:cNvPr>
          <p:cNvSpPr>
            <a:spLocks noGrp="1"/>
          </p:cNvSpPr>
          <p:nvPr>
            <p:ph type="pic" sz="quarter" idx="15" hasCustomPrompt="1"/>
          </p:nvPr>
        </p:nvSpPr>
        <p:spPr>
          <a:xfrm>
            <a:off x="-1" y="-1"/>
            <a:ext cx="12204000" cy="4911479"/>
          </a:xfrm>
          <a:custGeom>
            <a:avLst/>
            <a:gdLst>
              <a:gd name="connsiteX0" fmla="*/ 9926607 w 12204000"/>
              <a:gd name="connsiteY0" fmla="*/ 3747694 h 4911479"/>
              <a:gd name="connsiteX1" fmla="*/ 9822564 w 12204000"/>
              <a:gd name="connsiteY1" fmla="*/ 3851991 h 4911479"/>
              <a:gd name="connsiteX2" fmla="*/ 9822564 w 12204000"/>
              <a:gd name="connsiteY2" fmla="*/ 3993537 h 4911479"/>
              <a:gd name="connsiteX3" fmla="*/ 9926607 w 12204000"/>
              <a:gd name="connsiteY3" fmla="*/ 4100317 h 4911479"/>
              <a:gd name="connsiteX4" fmla="*/ 10030649 w 12204000"/>
              <a:gd name="connsiteY4" fmla="*/ 3993537 h 4911479"/>
              <a:gd name="connsiteX5" fmla="*/ 10030649 w 12204000"/>
              <a:gd name="connsiteY5" fmla="*/ 3851991 h 4911479"/>
              <a:gd name="connsiteX6" fmla="*/ 9926607 w 12204000"/>
              <a:gd name="connsiteY6" fmla="*/ 3747694 h 4911479"/>
              <a:gd name="connsiteX7" fmla="*/ 10347760 w 12204000"/>
              <a:gd name="connsiteY7" fmla="*/ 3238074 h 4911479"/>
              <a:gd name="connsiteX8" fmla="*/ 10171448 w 12204000"/>
              <a:gd name="connsiteY8" fmla="*/ 3414011 h 4911479"/>
              <a:gd name="connsiteX9" fmla="*/ 10171448 w 12204000"/>
              <a:gd name="connsiteY9" fmla="*/ 3941824 h 4911479"/>
              <a:gd name="connsiteX10" fmla="*/ 10347760 w 12204000"/>
              <a:gd name="connsiteY10" fmla="*/ 4117761 h 4911479"/>
              <a:gd name="connsiteX11" fmla="*/ 10524071 w 12204000"/>
              <a:gd name="connsiteY11" fmla="*/ 3941824 h 4911479"/>
              <a:gd name="connsiteX12" fmla="*/ 10524071 w 12204000"/>
              <a:gd name="connsiteY12" fmla="*/ 3414011 h 4911479"/>
              <a:gd name="connsiteX13" fmla="*/ 10347760 w 12204000"/>
              <a:gd name="connsiteY13" fmla="*/ 3238074 h 4911479"/>
              <a:gd name="connsiteX14" fmla="*/ 10918439 w 12204000"/>
              <a:gd name="connsiteY14" fmla="*/ 2554011 h 4911479"/>
              <a:gd name="connsiteX15" fmla="*/ 10699759 w 12204000"/>
              <a:gd name="connsiteY15" fmla="*/ 2774545 h 4911479"/>
              <a:gd name="connsiteX16" fmla="*/ 10699759 w 12204000"/>
              <a:gd name="connsiteY16" fmla="*/ 4300936 h 4911479"/>
              <a:gd name="connsiteX17" fmla="*/ 10918439 w 12204000"/>
              <a:gd name="connsiteY17" fmla="*/ 4521470 h 4911479"/>
              <a:gd name="connsiteX18" fmla="*/ 11139603 w 12204000"/>
              <a:gd name="connsiteY18" fmla="*/ 4300936 h 4911479"/>
              <a:gd name="connsiteX19" fmla="*/ 11139603 w 12204000"/>
              <a:gd name="connsiteY19" fmla="*/ 2774545 h 4911479"/>
              <a:gd name="connsiteX20" fmla="*/ 10918439 w 12204000"/>
              <a:gd name="connsiteY20" fmla="*/ 2554011 h 4911479"/>
              <a:gd name="connsiteX21" fmla="*/ 0 w 12204000"/>
              <a:gd name="connsiteY21" fmla="*/ 0 h 4911479"/>
              <a:gd name="connsiteX22" fmla="*/ 12204000 w 12204000"/>
              <a:gd name="connsiteY22" fmla="*/ 0 h 4911479"/>
              <a:gd name="connsiteX23" fmla="*/ 12204000 w 12204000"/>
              <a:gd name="connsiteY23" fmla="*/ 3764192 h 4911479"/>
              <a:gd name="connsiteX24" fmla="*/ 12174294 w 12204000"/>
              <a:gd name="connsiteY24" fmla="*/ 3744149 h 4911479"/>
              <a:gd name="connsiteX25" fmla="*/ 12105887 w 12204000"/>
              <a:gd name="connsiteY25" fmla="*/ 3730249 h 4911479"/>
              <a:gd name="connsiteX26" fmla="*/ 11929576 w 12204000"/>
              <a:gd name="connsiteY26" fmla="*/ 3906184 h 4911479"/>
              <a:gd name="connsiteX27" fmla="*/ 11929576 w 12204000"/>
              <a:gd name="connsiteY27" fmla="*/ 4431510 h 4911479"/>
              <a:gd name="connsiteX28" fmla="*/ 12105887 w 12204000"/>
              <a:gd name="connsiteY28" fmla="*/ 4607444 h 4911479"/>
              <a:gd name="connsiteX29" fmla="*/ 12174294 w 12204000"/>
              <a:gd name="connsiteY29" fmla="*/ 4593544 h 4911479"/>
              <a:gd name="connsiteX30" fmla="*/ 12204000 w 12204000"/>
              <a:gd name="connsiteY30" fmla="*/ 4573503 h 4911479"/>
              <a:gd name="connsiteX31" fmla="*/ 12204000 w 12204000"/>
              <a:gd name="connsiteY31" fmla="*/ 4911479 h 4911479"/>
              <a:gd name="connsiteX32" fmla="*/ 11753887 w 12204000"/>
              <a:gd name="connsiteY32" fmla="*/ 4911479 h 4911479"/>
              <a:gd name="connsiteX33" fmla="*/ 11753887 w 12204000"/>
              <a:gd name="connsiteY33" fmla="*/ 4882357 h 4911479"/>
              <a:gd name="connsiteX34" fmla="*/ 11753887 w 12204000"/>
              <a:gd name="connsiteY34" fmla="*/ 3544596 h 4911479"/>
              <a:gd name="connsiteX35" fmla="*/ 11533350 w 12204000"/>
              <a:gd name="connsiteY35" fmla="*/ 3326540 h 4911479"/>
              <a:gd name="connsiteX36" fmla="*/ 11315290 w 12204000"/>
              <a:gd name="connsiteY36" fmla="*/ 3544596 h 4911479"/>
              <a:gd name="connsiteX37" fmla="*/ 11315290 w 12204000"/>
              <a:gd name="connsiteY37" fmla="*/ 4804345 h 4911479"/>
              <a:gd name="connsiteX38" fmla="*/ 11315290 w 12204000"/>
              <a:gd name="connsiteY38" fmla="*/ 4911479 h 4911479"/>
              <a:gd name="connsiteX39" fmla="*/ 0 w 12204000"/>
              <a:gd name="connsiteY39" fmla="*/ 4911479 h 4911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204000" h="4911479">
                <a:moveTo>
                  <a:pt x="9926607" y="3747694"/>
                </a:moveTo>
                <a:cubicBezTo>
                  <a:pt x="9867154" y="3747694"/>
                  <a:pt x="9822564" y="3794876"/>
                  <a:pt x="9822564" y="3851991"/>
                </a:cubicBezTo>
                <a:cubicBezTo>
                  <a:pt x="9822564" y="3851991"/>
                  <a:pt x="9822564" y="3851991"/>
                  <a:pt x="9822564" y="3993537"/>
                </a:cubicBezTo>
                <a:cubicBezTo>
                  <a:pt x="9822564" y="4053135"/>
                  <a:pt x="9867154" y="4100317"/>
                  <a:pt x="9926607" y="4100317"/>
                </a:cubicBezTo>
                <a:cubicBezTo>
                  <a:pt x="9983582" y="4100317"/>
                  <a:pt x="10030649" y="4053135"/>
                  <a:pt x="10030649" y="3993537"/>
                </a:cubicBezTo>
                <a:cubicBezTo>
                  <a:pt x="10030649" y="3993537"/>
                  <a:pt x="10030649" y="3993537"/>
                  <a:pt x="10030649" y="3851991"/>
                </a:cubicBezTo>
                <a:cubicBezTo>
                  <a:pt x="10030649" y="3794876"/>
                  <a:pt x="9983582" y="3747694"/>
                  <a:pt x="9926607" y="3747694"/>
                </a:cubicBezTo>
                <a:close/>
                <a:moveTo>
                  <a:pt x="10347760" y="3238074"/>
                </a:moveTo>
                <a:cubicBezTo>
                  <a:pt x="10250913" y="3238074"/>
                  <a:pt x="10171448" y="3317370"/>
                  <a:pt x="10171448" y="3414011"/>
                </a:cubicBezTo>
                <a:cubicBezTo>
                  <a:pt x="10171448" y="3414011"/>
                  <a:pt x="10171448" y="3414011"/>
                  <a:pt x="10171448" y="3941824"/>
                </a:cubicBezTo>
                <a:cubicBezTo>
                  <a:pt x="10171448" y="4038465"/>
                  <a:pt x="10250913" y="4117761"/>
                  <a:pt x="10347760" y="4117761"/>
                </a:cubicBezTo>
                <a:cubicBezTo>
                  <a:pt x="10444607" y="4117761"/>
                  <a:pt x="10524071" y="4038465"/>
                  <a:pt x="10524071" y="3941824"/>
                </a:cubicBezTo>
                <a:cubicBezTo>
                  <a:pt x="10524071" y="3941824"/>
                  <a:pt x="10524071" y="3941824"/>
                  <a:pt x="10524071" y="3414011"/>
                </a:cubicBezTo>
                <a:cubicBezTo>
                  <a:pt x="10524071" y="3317370"/>
                  <a:pt x="10444607" y="3238074"/>
                  <a:pt x="10347760" y="3238074"/>
                </a:cubicBezTo>
                <a:close/>
                <a:moveTo>
                  <a:pt x="10918439" y="2554011"/>
                </a:moveTo>
                <a:cubicBezTo>
                  <a:pt x="10799159" y="2554011"/>
                  <a:pt x="10699759" y="2653127"/>
                  <a:pt x="10699759" y="2774545"/>
                </a:cubicBezTo>
                <a:cubicBezTo>
                  <a:pt x="10699759" y="2774545"/>
                  <a:pt x="10699759" y="2774545"/>
                  <a:pt x="10699759" y="4300936"/>
                </a:cubicBezTo>
                <a:cubicBezTo>
                  <a:pt x="10699759" y="4422354"/>
                  <a:pt x="10799159" y="4521470"/>
                  <a:pt x="10918439" y="4521470"/>
                </a:cubicBezTo>
                <a:cubicBezTo>
                  <a:pt x="11040203" y="4521470"/>
                  <a:pt x="11139603" y="4422354"/>
                  <a:pt x="11139603" y="4300936"/>
                </a:cubicBezTo>
                <a:cubicBezTo>
                  <a:pt x="11139603" y="4300936"/>
                  <a:pt x="11139603" y="4300936"/>
                  <a:pt x="11139603" y="2774545"/>
                </a:cubicBezTo>
                <a:cubicBezTo>
                  <a:pt x="11139603" y="2653127"/>
                  <a:pt x="11040203" y="2554011"/>
                  <a:pt x="10918439" y="2554011"/>
                </a:cubicBezTo>
                <a:close/>
                <a:moveTo>
                  <a:pt x="0" y="0"/>
                </a:moveTo>
                <a:lnTo>
                  <a:pt x="12204000" y="0"/>
                </a:lnTo>
                <a:lnTo>
                  <a:pt x="12204000" y="3764192"/>
                </a:lnTo>
                <a:lnTo>
                  <a:pt x="12174294" y="3744149"/>
                </a:lnTo>
                <a:cubicBezTo>
                  <a:pt x="12153224" y="3735205"/>
                  <a:pt x="12130099" y="3730249"/>
                  <a:pt x="12105887" y="3730249"/>
                </a:cubicBezTo>
                <a:cubicBezTo>
                  <a:pt x="12009040" y="3730249"/>
                  <a:pt x="11929576" y="3809544"/>
                  <a:pt x="11929576" y="3906184"/>
                </a:cubicBezTo>
                <a:cubicBezTo>
                  <a:pt x="11929576" y="3906184"/>
                  <a:pt x="11929576" y="3906184"/>
                  <a:pt x="11929576" y="4431510"/>
                </a:cubicBezTo>
                <a:cubicBezTo>
                  <a:pt x="11929576" y="4528150"/>
                  <a:pt x="12009040" y="4607444"/>
                  <a:pt x="12105887" y="4607444"/>
                </a:cubicBezTo>
                <a:cubicBezTo>
                  <a:pt x="12130099" y="4607444"/>
                  <a:pt x="12153224" y="4602488"/>
                  <a:pt x="12174294" y="4593544"/>
                </a:cubicBezTo>
                <a:lnTo>
                  <a:pt x="12204000" y="4573503"/>
                </a:lnTo>
                <a:lnTo>
                  <a:pt x="12204000" y="4911479"/>
                </a:lnTo>
                <a:lnTo>
                  <a:pt x="11753887" y="4911479"/>
                </a:lnTo>
                <a:lnTo>
                  <a:pt x="11753887" y="4882357"/>
                </a:lnTo>
                <a:cubicBezTo>
                  <a:pt x="11753887" y="4691248"/>
                  <a:pt x="11753887" y="4309031"/>
                  <a:pt x="11753887" y="3544596"/>
                </a:cubicBezTo>
                <a:cubicBezTo>
                  <a:pt x="11753887" y="3425656"/>
                  <a:pt x="11654769" y="3326540"/>
                  <a:pt x="11533350" y="3326540"/>
                </a:cubicBezTo>
                <a:cubicBezTo>
                  <a:pt x="11414408" y="3326540"/>
                  <a:pt x="11315290" y="3425656"/>
                  <a:pt x="11315290" y="3544596"/>
                </a:cubicBezTo>
                <a:cubicBezTo>
                  <a:pt x="11315290" y="3544596"/>
                  <a:pt x="11315290" y="3544596"/>
                  <a:pt x="11315290" y="4804345"/>
                </a:cubicBezTo>
                <a:lnTo>
                  <a:pt x="11315290" y="4911479"/>
                </a:lnTo>
                <a:lnTo>
                  <a:pt x="0" y="4911479"/>
                </a:lnTo>
                <a:close/>
              </a:path>
            </a:pathLst>
          </a:custGeom>
          <a:solidFill>
            <a:schemeClr val="accent5"/>
          </a:solidFill>
        </p:spPr>
        <p:txBody>
          <a:bodyPr wrap="square" anchor="ctr" anchorCtr="0">
            <a:noAutofit/>
          </a:bodyPr>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accent1"/>
                </a:solidFill>
              </a:defRPr>
            </a:lvl1pPr>
          </a:lstStyle>
          <a:p>
            <a:r>
              <a:rPr lang="en-GB"/>
              <a:t>Insert image by clicking on placeholder + Images button</a:t>
            </a:r>
            <a:endParaRPr lang="en-GB" dirty="0"/>
          </a:p>
        </p:txBody>
      </p:sp>
      <p:sp>
        <p:nvSpPr>
          <p:cNvPr id="38" name="Pulse">
            <a:extLst>
              <a:ext uri="{FF2B5EF4-FFF2-40B4-BE49-F238E27FC236}">
                <a16:creationId xmlns:a16="http://schemas.microsoft.com/office/drawing/2014/main" id="{437A1C0F-02A0-4154-9BE2-4CC52A926281}"/>
              </a:ext>
            </a:extLst>
          </p:cNvPr>
          <p:cNvSpPr>
            <a:spLocks/>
          </p:cNvSpPr>
          <p:nvPr userDrawn="1"/>
        </p:nvSpPr>
        <p:spPr bwMode="auto">
          <a:xfrm>
            <a:off x="9824400" y="2552400"/>
            <a:ext cx="2391674" cy="2739988"/>
          </a:xfrm>
          <a:custGeom>
            <a:avLst/>
            <a:gdLst>
              <a:gd name="connsiteX0" fmla="*/ 104043 w 2391674"/>
              <a:gd name="connsiteY0" fmla="*/ 1193683 h 2739988"/>
              <a:gd name="connsiteX1" fmla="*/ 208085 w 2391674"/>
              <a:gd name="connsiteY1" fmla="*/ 1297980 h 2739988"/>
              <a:gd name="connsiteX2" fmla="*/ 208085 w 2391674"/>
              <a:gd name="connsiteY2" fmla="*/ 1439526 h 2739988"/>
              <a:gd name="connsiteX3" fmla="*/ 104043 w 2391674"/>
              <a:gd name="connsiteY3" fmla="*/ 1546306 h 2739988"/>
              <a:gd name="connsiteX4" fmla="*/ 0 w 2391674"/>
              <a:gd name="connsiteY4" fmla="*/ 1439526 h 2739988"/>
              <a:gd name="connsiteX5" fmla="*/ 0 w 2391674"/>
              <a:gd name="connsiteY5" fmla="*/ 1297980 h 2739988"/>
              <a:gd name="connsiteX6" fmla="*/ 104043 w 2391674"/>
              <a:gd name="connsiteY6" fmla="*/ 1193683 h 2739988"/>
              <a:gd name="connsiteX7" fmla="*/ 2283323 w 2391674"/>
              <a:gd name="connsiteY7" fmla="*/ 1176238 h 2739988"/>
              <a:gd name="connsiteX8" fmla="*/ 2351730 w 2391674"/>
              <a:gd name="connsiteY8" fmla="*/ 1190138 h 2739988"/>
              <a:gd name="connsiteX9" fmla="*/ 2391674 w 2391674"/>
              <a:gd name="connsiteY9" fmla="*/ 1217088 h 2739988"/>
              <a:gd name="connsiteX10" fmla="*/ 2391674 w 2391674"/>
              <a:gd name="connsiteY10" fmla="*/ 2012584 h 2739988"/>
              <a:gd name="connsiteX11" fmla="*/ 2351730 w 2391674"/>
              <a:gd name="connsiteY11" fmla="*/ 2039533 h 2739988"/>
              <a:gd name="connsiteX12" fmla="*/ 2283323 w 2391674"/>
              <a:gd name="connsiteY12" fmla="*/ 2053433 h 2739988"/>
              <a:gd name="connsiteX13" fmla="*/ 2107012 w 2391674"/>
              <a:gd name="connsiteY13" fmla="*/ 1877499 h 2739988"/>
              <a:gd name="connsiteX14" fmla="*/ 2107012 w 2391674"/>
              <a:gd name="connsiteY14" fmla="*/ 1352173 h 2739988"/>
              <a:gd name="connsiteX15" fmla="*/ 2283323 w 2391674"/>
              <a:gd name="connsiteY15" fmla="*/ 1176238 h 2739988"/>
              <a:gd name="connsiteX16" fmla="*/ 1710786 w 2391674"/>
              <a:gd name="connsiteY16" fmla="*/ 772529 h 2739988"/>
              <a:gd name="connsiteX17" fmla="*/ 1931323 w 2391674"/>
              <a:gd name="connsiteY17" fmla="*/ 990585 h 2739988"/>
              <a:gd name="connsiteX18" fmla="*/ 1931323 w 2391674"/>
              <a:gd name="connsiteY18" fmla="*/ 2519454 h 2739988"/>
              <a:gd name="connsiteX19" fmla="*/ 1710786 w 2391674"/>
              <a:gd name="connsiteY19" fmla="*/ 2739988 h 2739988"/>
              <a:gd name="connsiteX20" fmla="*/ 1492726 w 2391674"/>
              <a:gd name="connsiteY20" fmla="*/ 2519454 h 2739988"/>
              <a:gd name="connsiteX21" fmla="*/ 1492726 w 2391674"/>
              <a:gd name="connsiteY21" fmla="*/ 990585 h 2739988"/>
              <a:gd name="connsiteX22" fmla="*/ 1710786 w 2391674"/>
              <a:gd name="connsiteY22" fmla="*/ 772529 h 2739988"/>
              <a:gd name="connsiteX23" fmla="*/ 525196 w 2391674"/>
              <a:gd name="connsiteY23" fmla="*/ 684063 h 2739988"/>
              <a:gd name="connsiteX24" fmla="*/ 701507 w 2391674"/>
              <a:gd name="connsiteY24" fmla="*/ 860000 h 2739988"/>
              <a:gd name="connsiteX25" fmla="*/ 701507 w 2391674"/>
              <a:gd name="connsiteY25" fmla="*/ 1387813 h 2739988"/>
              <a:gd name="connsiteX26" fmla="*/ 525196 w 2391674"/>
              <a:gd name="connsiteY26" fmla="*/ 1563750 h 2739988"/>
              <a:gd name="connsiteX27" fmla="*/ 348884 w 2391674"/>
              <a:gd name="connsiteY27" fmla="*/ 1387813 h 2739988"/>
              <a:gd name="connsiteX28" fmla="*/ 348884 w 2391674"/>
              <a:gd name="connsiteY28" fmla="*/ 860000 h 2739988"/>
              <a:gd name="connsiteX29" fmla="*/ 525196 w 2391674"/>
              <a:gd name="connsiteY29" fmla="*/ 684063 h 2739988"/>
              <a:gd name="connsiteX30" fmla="*/ 1095875 w 2391674"/>
              <a:gd name="connsiteY30" fmla="*/ 0 h 2739988"/>
              <a:gd name="connsiteX31" fmla="*/ 1317039 w 2391674"/>
              <a:gd name="connsiteY31" fmla="*/ 220534 h 2739988"/>
              <a:gd name="connsiteX32" fmla="*/ 1317039 w 2391674"/>
              <a:gd name="connsiteY32" fmla="*/ 1746925 h 2739988"/>
              <a:gd name="connsiteX33" fmla="*/ 1095875 w 2391674"/>
              <a:gd name="connsiteY33" fmla="*/ 1967459 h 2739988"/>
              <a:gd name="connsiteX34" fmla="*/ 877195 w 2391674"/>
              <a:gd name="connsiteY34" fmla="*/ 1746925 h 2739988"/>
              <a:gd name="connsiteX35" fmla="*/ 877195 w 2391674"/>
              <a:gd name="connsiteY35" fmla="*/ 220534 h 2739988"/>
              <a:gd name="connsiteX36" fmla="*/ 1095875 w 2391674"/>
              <a:gd name="connsiteY36" fmla="*/ 0 h 273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391674" h="2739988">
                <a:moveTo>
                  <a:pt x="104043" y="1193683"/>
                </a:moveTo>
                <a:cubicBezTo>
                  <a:pt x="161018" y="1193683"/>
                  <a:pt x="208085" y="1240865"/>
                  <a:pt x="208085" y="1297980"/>
                </a:cubicBezTo>
                <a:cubicBezTo>
                  <a:pt x="208085" y="1439526"/>
                  <a:pt x="208085" y="1439526"/>
                  <a:pt x="208085" y="1439526"/>
                </a:cubicBezTo>
                <a:cubicBezTo>
                  <a:pt x="208085" y="1499124"/>
                  <a:pt x="161018" y="1546306"/>
                  <a:pt x="104043" y="1546306"/>
                </a:cubicBezTo>
                <a:cubicBezTo>
                  <a:pt x="44590" y="1546306"/>
                  <a:pt x="0" y="1499124"/>
                  <a:pt x="0" y="1439526"/>
                </a:cubicBezTo>
                <a:cubicBezTo>
                  <a:pt x="0" y="1297980"/>
                  <a:pt x="0" y="1297980"/>
                  <a:pt x="0" y="1297980"/>
                </a:cubicBezTo>
                <a:cubicBezTo>
                  <a:pt x="0" y="1240865"/>
                  <a:pt x="44590" y="1193683"/>
                  <a:pt x="104043" y="1193683"/>
                </a:cubicBezTo>
                <a:close/>
                <a:moveTo>
                  <a:pt x="2283323" y="1176238"/>
                </a:moveTo>
                <a:cubicBezTo>
                  <a:pt x="2307535" y="1176238"/>
                  <a:pt x="2330660" y="1181194"/>
                  <a:pt x="2351730" y="1190138"/>
                </a:cubicBezTo>
                <a:lnTo>
                  <a:pt x="2391674" y="1217088"/>
                </a:lnTo>
                <a:lnTo>
                  <a:pt x="2391674" y="2012584"/>
                </a:lnTo>
                <a:lnTo>
                  <a:pt x="2351730" y="2039533"/>
                </a:lnTo>
                <a:cubicBezTo>
                  <a:pt x="2330660" y="2048477"/>
                  <a:pt x="2307535" y="2053433"/>
                  <a:pt x="2283323" y="2053433"/>
                </a:cubicBezTo>
                <a:cubicBezTo>
                  <a:pt x="2186476" y="2053433"/>
                  <a:pt x="2107012" y="1974139"/>
                  <a:pt x="2107012" y="1877499"/>
                </a:cubicBezTo>
                <a:cubicBezTo>
                  <a:pt x="2107012" y="1352173"/>
                  <a:pt x="2107012" y="1352173"/>
                  <a:pt x="2107012" y="1352173"/>
                </a:cubicBezTo>
                <a:cubicBezTo>
                  <a:pt x="2107012" y="1255533"/>
                  <a:pt x="2186476" y="1176238"/>
                  <a:pt x="2283323" y="1176238"/>
                </a:cubicBezTo>
                <a:close/>
                <a:moveTo>
                  <a:pt x="1710786" y="772529"/>
                </a:moveTo>
                <a:cubicBezTo>
                  <a:pt x="1832205" y="772529"/>
                  <a:pt x="1931323" y="871645"/>
                  <a:pt x="1931323" y="990585"/>
                </a:cubicBezTo>
                <a:cubicBezTo>
                  <a:pt x="1931323" y="2519454"/>
                  <a:pt x="1931323" y="2519454"/>
                  <a:pt x="1931323" y="2519454"/>
                </a:cubicBezTo>
                <a:cubicBezTo>
                  <a:pt x="1931323" y="2640872"/>
                  <a:pt x="1832205" y="2739988"/>
                  <a:pt x="1710786" y="2739988"/>
                </a:cubicBezTo>
                <a:cubicBezTo>
                  <a:pt x="1591844" y="2739988"/>
                  <a:pt x="1492726" y="2640872"/>
                  <a:pt x="1492726" y="2519454"/>
                </a:cubicBezTo>
                <a:cubicBezTo>
                  <a:pt x="1492726" y="990585"/>
                  <a:pt x="1492726" y="990585"/>
                  <a:pt x="1492726" y="990585"/>
                </a:cubicBezTo>
                <a:cubicBezTo>
                  <a:pt x="1492726" y="871645"/>
                  <a:pt x="1591844" y="772529"/>
                  <a:pt x="1710786" y="772529"/>
                </a:cubicBezTo>
                <a:close/>
                <a:moveTo>
                  <a:pt x="525196" y="684063"/>
                </a:moveTo>
                <a:cubicBezTo>
                  <a:pt x="622043" y="684063"/>
                  <a:pt x="701507" y="763359"/>
                  <a:pt x="701507" y="860000"/>
                </a:cubicBezTo>
                <a:cubicBezTo>
                  <a:pt x="701507" y="1387813"/>
                  <a:pt x="701507" y="1387813"/>
                  <a:pt x="701507" y="1387813"/>
                </a:cubicBezTo>
                <a:cubicBezTo>
                  <a:pt x="701507" y="1484454"/>
                  <a:pt x="622043" y="1563750"/>
                  <a:pt x="525196" y="1563750"/>
                </a:cubicBezTo>
                <a:cubicBezTo>
                  <a:pt x="428349" y="1563750"/>
                  <a:pt x="348884" y="1484454"/>
                  <a:pt x="348884" y="1387813"/>
                </a:cubicBezTo>
                <a:cubicBezTo>
                  <a:pt x="348884" y="860000"/>
                  <a:pt x="348884" y="860000"/>
                  <a:pt x="348884" y="860000"/>
                </a:cubicBezTo>
                <a:cubicBezTo>
                  <a:pt x="348884" y="763359"/>
                  <a:pt x="428349" y="684063"/>
                  <a:pt x="525196" y="684063"/>
                </a:cubicBezTo>
                <a:close/>
                <a:moveTo>
                  <a:pt x="1095875" y="0"/>
                </a:moveTo>
                <a:cubicBezTo>
                  <a:pt x="1217639" y="0"/>
                  <a:pt x="1317039" y="99116"/>
                  <a:pt x="1317039" y="220534"/>
                </a:cubicBezTo>
                <a:cubicBezTo>
                  <a:pt x="1317039" y="1746925"/>
                  <a:pt x="1317039" y="1746925"/>
                  <a:pt x="1317039" y="1746925"/>
                </a:cubicBezTo>
                <a:cubicBezTo>
                  <a:pt x="1317039" y="1868343"/>
                  <a:pt x="1217639" y="1967459"/>
                  <a:pt x="1095875" y="1967459"/>
                </a:cubicBezTo>
                <a:cubicBezTo>
                  <a:pt x="976595" y="1967459"/>
                  <a:pt x="877195" y="1868343"/>
                  <a:pt x="877195" y="1746925"/>
                </a:cubicBezTo>
                <a:cubicBezTo>
                  <a:pt x="877195" y="220534"/>
                  <a:pt x="877195" y="220534"/>
                  <a:pt x="877195" y="220534"/>
                </a:cubicBezTo>
                <a:cubicBezTo>
                  <a:pt x="877195" y="99116"/>
                  <a:pt x="976595" y="0"/>
                  <a:pt x="1095875" y="0"/>
                </a:cubicBezTo>
                <a:close/>
              </a:path>
            </a:pathLst>
          </a:custGeom>
          <a:solidFill>
            <a:schemeClr val="bg2"/>
          </a:solid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4" name="Logotype">
            <a:extLst>
              <a:ext uri="{FF2B5EF4-FFF2-40B4-BE49-F238E27FC236}">
                <a16:creationId xmlns:a16="http://schemas.microsoft.com/office/drawing/2014/main" id="{BD2047D7-89C5-B900-5601-F68C312DD512}"/>
              </a:ext>
            </a:extLst>
          </p:cNvPr>
          <p:cNvSpPr>
            <a:spLocks noChangeAspect="1"/>
          </p:cNvSpPr>
          <p:nvPr userDrawn="1"/>
        </p:nvSpPr>
        <p:spPr>
          <a:xfrm>
            <a:off x="10277295" y="6152120"/>
            <a:ext cx="1386000" cy="288857"/>
          </a:xfrm>
          <a:custGeom>
            <a:avLst/>
            <a:gdLst>
              <a:gd name="connsiteX0" fmla="*/ 1189292 w 1295686"/>
              <a:gd name="connsiteY0" fmla="*/ 102299 h 270035"/>
              <a:gd name="connsiteX1" fmla="*/ 1128522 w 1295686"/>
              <a:gd name="connsiteY1" fmla="*/ 170593 h 270035"/>
              <a:gd name="connsiteX2" fmla="*/ 1181576 w 1295686"/>
              <a:gd name="connsiteY2" fmla="*/ 224219 h 270035"/>
              <a:gd name="connsiteX3" fmla="*/ 1250537 w 1295686"/>
              <a:gd name="connsiteY3" fmla="*/ 166688 h 270035"/>
              <a:gd name="connsiteX4" fmla="*/ 1250442 w 1295686"/>
              <a:gd name="connsiteY4" fmla="*/ 166688 h 270035"/>
              <a:gd name="connsiteX5" fmla="*/ 1250442 w 1295686"/>
              <a:gd name="connsiteY5" fmla="*/ 160306 h 270035"/>
              <a:gd name="connsiteX6" fmla="*/ 1189292 w 1295686"/>
              <a:gd name="connsiteY6" fmla="*/ 102299 h 270035"/>
              <a:gd name="connsiteX7" fmla="*/ 717519 w 1295686"/>
              <a:gd name="connsiteY7" fmla="*/ 102299 h 270035"/>
              <a:gd name="connsiteX8" fmla="*/ 656749 w 1295686"/>
              <a:gd name="connsiteY8" fmla="*/ 170593 h 270035"/>
              <a:gd name="connsiteX9" fmla="*/ 709803 w 1295686"/>
              <a:gd name="connsiteY9" fmla="*/ 224218 h 270035"/>
              <a:gd name="connsiteX10" fmla="*/ 778764 w 1295686"/>
              <a:gd name="connsiteY10" fmla="*/ 166687 h 270035"/>
              <a:gd name="connsiteX11" fmla="*/ 778669 w 1295686"/>
              <a:gd name="connsiteY11" fmla="*/ 166687 h 270035"/>
              <a:gd name="connsiteX12" fmla="*/ 778669 w 1295686"/>
              <a:gd name="connsiteY12" fmla="*/ 160306 h 270035"/>
              <a:gd name="connsiteX13" fmla="*/ 717519 w 1295686"/>
              <a:gd name="connsiteY13" fmla="*/ 102299 h 270035"/>
              <a:gd name="connsiteX14" fmla="*/ 366808 w 1295686"/>
              <a:gd name="connsiteY14" fmla="*/ 102299 h 270035"/>
              <a:gd name="connsiteX15" fmla="*/ 305657 w 1295686"/>
              <a:gd name="connsiteY15" fmla="*/ 163449 h 270035"/>
              <a:gd name="connsiteX16" fmla="*/ 366808 w 1295686"/>
              <a:gd name="connsiteY16" fmla="*/ 224600 h 270035"/>
              <a:gd name="connsiteX17" fmla="*/ 427958 w 1295686"/>
              <a:gd name="connsiteY17" fmla="*/ 163449 h 270035"/>
              <a:gd name="connsiteX18" fmla="*/ 366808 w 1295686"/>
              <a:gd name="connsiteY18" fmla="*/ 102299 h 270035"/>
              <a:gd name="connsiteX19" fmla="*/ 962039 w 1295686"/>
              <a:gd name="connsiteY19" fmla="*/ 96385 h 270035"/>
              <a:gd name="connsiteX20" fmla="*/ 938499 w 1295686"/>
              <a:gd name="connsiteY20" fmla="*/ 100585 h 270035"/>
              <a:gd name="connsiteX21" fmla="*/ 896779 w 1295686"/>
              <a:gd name="connsiteY21" fmla="*/ 159068 h 270035"/>
              <a:gd name="connsiteX22" fmla="*/ 896779 w 1295686"/>
              <a:gd name="connsiteY22" fmla="*/ 159164 h 270035"/>
              <a:gd name="connsiteX23" fmla="*/ 1011746 w 1295686"/>
              <a:gd name="connsiteY23" fmla="*/ 127541 h 270035"/>
              <a:gd name="connsiteX24" fmla="*/ 962039 w 1295686"/>
              <a:gd name="connsiteY24" fmla="*/ 96385 h 270035"/>
              <a:gd name="connsiteX25" fmla="*/ 1181005 w 1295686"/>
              <a:gd name="connsiteY25" fmla="*/ 57436 h 270035"/>
              <a:gd name="connsiteX26" fmla="*/ 1295686 w 1295686"/>
              <a:gd name="connsiteY26" fmla="*/ 165354 h 270035"/>
              <a:gd name="connsiteX27" fmla="*/ 1295686 w 1295686"/>
              <a:gd name="connsiteY27" fmla="*/ 266700 h 270035"/>
              <a:gd name="connsiteX28" fmla="*/ 1254538 w 1295686"/>
              <a:gd name="connsiteY28" fmla="*/ 266700 h 270035"/>
              <a:gd name="connsiteX29" fmla="*/ 1254538 w 1295686"/>
              <a:gd name="connsiteY29" fmla="*/ 235458 h 270035"/>
              <a:gd name="connsiteX30" fmla="*/ 1189292 w 1295686"/>
              <a:gd name="connsiteY30" fmla="*/ 269558 h 270035"/>
              <a:gd name="connsiteX31" fmla="*/ 1083278 w 1295686"/>
              <a:gd name="connsiteY31" fmla="*/ 156591 h 270035"/>
              <a:gd name="connsiteX32" fmla="*/ 1181005 w 1295686"/>
              <a:gd name="connsiteY32" fmla="*/ 57531 h 270035"/>
              <a:gd name="connsiteX33" fmla="*/ 956311 w 1295686"/>
              <a:gd name="connsiteY33" fmla="*/ 57246 h 270035"/>
              <a:gd name="connsiteX34" fmla="*/ 956311 w 1295686"/>
              <a:gd name="connsiteY34" fmla="*/ 57341 h 270035"/>
              <a:gd name="connsiteX35" fmla="*/ 1064134 w 1295686"/>
              <a:gd name="connsiteY35" fmla="*/ 151924 h 270035"/>
              <a:gd name="connsiteX36" fmla="*/ 904876 w 1295686"/>
              <a:gd name="connsiteY36" fmla="*/ 195359 h 270035"/>
              <a:gd name="connsiteX37" fmla="*/ 970503 w 1295686"/>
              <a:gd name="connsiteY37" fmla="*/ 227172 h 270035"/>
              <a:gd name="connsiteX38" fmla="*/ 1016413 w 1295686"/>
              <a:gd name="connsiteY38" fmla="*/ 191930 h 270035"/>
              <a:gd name="connsiteX39" fmla="*/ 1057371 w 1295686"/>
              <a:gd name="connsiteY39" fmla="*/ 204121 h 270035"/>
              <a:gd name="connsiteX40" fmla="*/ 958787 w 1295686"/>
              <a:gd name="connsiteY40" fmla="*/ 270035 h 270035"/>
              <a:gd name="connsiteX41" fmla="*/ 852488 w 1295686"/>
              <a:gd name="connsiteY41" fmla="*/ 164593 h 270035"/>
              <a:gd name="connsiteX42" fmla="*/ 956311 w 1295686"/>
              <a:gd name="connsiteY42" fmla="*/ 57246 h 270035"/>
              <a:gd name="connsiteX43" fmla="*/ 366903 w 1295686"/>
              <a:gd name="connsiteY43" fmla="*/ 57055 h 270035"/>
              <a:gd name="connsiteX44" fmla="*/ 473298 w 1295686"/>
              <a:gd name="connsiteY44" fmla="*/ 163449 h 270035"/>
              <a:gd name="connsiteX45" fmla="*/ 366903 w 1295686"/>
              <a:gd name="connsiteY45" fmla="*/ 269844 h 270035"/>
              <a:gd name="connsiteX46" fmla="*/ 260509 w 1295686"/>
              <a:gd name="connsiteY46" fmla="*/ 163449 h 270035"/>
              <a:gd name="connsiteX47" fmla="*/ 366903 w 1295686"/>
              <a:gd name="connsiteY47" fmla="*/ 57055 h 270035"/>
              <a:gd name="connsiteX48" fmla="*/ 605885 w 1295686"/>
              <a:gd name="connsiteY48" fmla="*/ 56769 h 270035"/>
              <a:gd name="connsiteX49" fmla="*/ 605885 w 1295686"/>
              <a:gd name="connsiteY49" fmla="*/ 100393 h 270035"/>
              <a:gd name="connsiteX50" fmla="*/ 605981 w 1295686"/>
              <a:gd name="connsiteY50" fmla="*/ 100393 h 270035"/>
              <a:gd name="connsiteX51" fmla="*/ 547307 w 1295686"/>
              <a:gd name="connsiteY51" fmla="*/ 167164 h 270035"/>
              <a:gd name="connsiteX52" fmla="*/ 547402 w 1295686"/>
              <a:gd name="connsiteY52" fmla="*/ 266795 h 270035"/>
              <a:gd name="connsiteX53" fmla="*/ 500920 w 1295686"/>
              <a:gd name="connsiteY53" fmla="*/ 266795 h 270035"/>
              <a:gd name="connsiteX54" fmla="*/ 500920 w 1295686"/>
              <a:gd name="connsiteY54" fmla="*/ 63722 h 270035"/>
              <a:gd name="connsiteX55" fmla="*/ 546164 w 1295686"/>
              <a:gd name="connsiteY55" fmla="*/ 63722 h 270035"/>
              <a:gd name="connsiteX56" fmla="*/ 546164 w 1295686"/>
              <a:gd name="connsiteY56" fmla="*/ 87154 h 270035"/>
              <a:gd name="connsiteX57" fmla="*/ 605885 w 1295686"/>
              <a:gd name="connsiteY57" fmla="*/ 56769 h 270035"/>
              <a:gd name="connsiteX58" fmla="*/ 0 w 1295686"/>
              <a:gd name="connsiteY58" fmla="*/ 21622 h 270035"/>
              <a:gd name="connsiteX59" fmla="*/ 47339 w 1295686"/>
              <a:gd name="connsiteY59" fmla="*/ 21622 h 270035"/>
              <a:gd name="connsiteX60" fmla="*/ 186214 w 1295686"/>
              <a:gd name="connsiteY60" fmla="*/ 185166 h 270035"/>
              <a:gd name="connsiteX61" fmla="*/ 186214 w 1295686"/>
              <a:gd name="connsiteY61" fmla="*/ 21622 h 270035"/>
              <a:gd name="connsiteX62" fmla="*/ 233077 w 1295686"/>
              <a:gd name="connsiteY62" fmla="*/ 21622 h 270035"/>
              <a:gd name="connsiteX63" fmla="*/ 232982 w 1295686"/>
              <a:gd name="connsiteY63" fmla="*/ 266700 h 270035"/>
              <a:gd name="connsiteX64" fmla="*/ 189548 w 1295686"/>
              <a:gd name="connsiteY64" fmla="*/ 266700 h 270035"/>
              <a:gd name="connsiteX65" fmla="*/ 48959 w 1295686"/>
              <a:gd name="connsiteY65" fmla="*/ 102680 h 270035"/>
              <a:gd name="connsiteX66" fmla="*/ 48959 w 1295686"/>
              <a:gd name="connsiteY66" fmla="*/ 266414 h 270035"/>
              <a:gd name="connsiteX67" fmla="*/ 0 w 1295686"/>
              <a:gd name="connsiteY67" fmla="*/ 266414 h 270035"/>
              <a:gd name="connsiteX68" fmla="*/ 780098 w 1295686"/>
              <a:gd name="connsiteY68" fmla="*/ 0 h 270035"/>
              <a:gd name="connsiteX69" fmla="*/ 823722 w 1295686"/>
              <a:gd name="connsiteY69" fmla="*/ 0 h 270035"/>
              <a:gd name="connsiteX70" fmla="*/ 823722 w 1295686"/>
              <a:gd name="connsiteY70" fmla="*/ 161449 h 270035"/>
              <a:gd name="connsiteX71" fmla="*/ 823722 w 1295686"/>
              <a:gd name="connsiteY71" fmla="*/ 163449 h 270035"/>
              <a:gd name="connsiteX72" fmla="*/ 823722 w 1295686"/>
              <a:gd name="connsiteY72" fmla="*/ 165449 h 270035"/>
              <a:gd name="connsiteX73" fmla="*/ 823722 w 1295686"/>
              <a:gd name="connsiteY73" fmla="*/ 266795 h 270035"/>
              <a:gd name="connsiteX74" fmla="*/ 782765 w 1295686"/>
              <a:gd name="connsiteY74" fmla="*/ 266795 h 270035"/>
              <a:gd name="connsiteX75" fmla="*/ 782765 w 1295686"/>
              <a:gd name="connsiteY75" fmla="*/ 239649 h 270035"/>
              <a:gd name="connsiteX76" fmla="*/ 717519 w 1295686"/>
              <a:gd name="connsiteY76" fmla="*/ 269748 h 270035"/>
              <a:gd name="connsiteX77" fmla="*/ 611505 w 1295686"/>
              <a:gd name="connsiteY77" fmla="*/ 156591 h 270035"/>
              <a:gd name="connsiteX78" fmla="*/ 709232 w 1295686"/>
              <a:gd name="connsiteY78" fmla="*/ 57531 h 270035"/>
              <a:gd name="connsiteX79" fmla="*/ 780098 w 1295686"/>
              <a:gd name="connsiteY79" fmla="*/ 79819 h 27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95686" h="270035">
                <a:moveTo>
                  <a:pt x="1189292" y="102299"/>
                </a:moveTo>
                <a:cubicBezTo>
                  <a:pt x="1153192" y="102299"/>
                  <a:pt x="1124426" y="133636"/>
                  <a:pt x="1128522" y="170593"/>
                </a:cubicBezTo>
                <a:cubicBezTo>
                  <a:pt x="1131665" y="198215"/>
                  <a:pt x="1153859" y="220790"/>
                  <a:pt x="1181576" y="224219"/>
                </a:cubicBezTo>
                <a:cubicBezTo>
                  <a:pt x="1217771" y="228695"/>
                  <a:pt x="1248728" y="201549"/>
                  <a:pt x="1250537" y="166688"/>
                </a:cubicBezTo>
                <a:lnTo>
                  <a:pt x="1250442" y="166688"/>
                </a:lnTo>
                <a:lnTo>
                  <a:pt x="1250442" y="160306"/>
                </a:lnTo>
                <a:cubicBezTo>
                  <a:pt x="1248728" y="128016"/>
                  <a:pt x="1222058" y="102299"/>
                  <a:pt x="1189292" y="102299"/>
                </a:cubicBezTo>
                <a:close/>
                <a:moveTo>
                  <a:pt x="717519" y="102299"/>
                </a:moveTo>
                <a:cubicBezTo>
                  <a:pt x="681419" y="102299"/>
                  <a:pt x="652653" y="133636"/>
                  <a:pt x="656749" y="170593"/>
                </a:cubicBezTo>
                <a:cubicBezTo>
                  <a:pt x="659892" y="198215"/>
                  <a:pt x="682086" y="220789"/>
                  <a:pt x="709803" y="224218"/>
                </a:cubicBezTo>
                <a:cubicBezTo>
                  <a:pt x="745998" y="228695"/>
                  <a:pt x="776955" y="201549"/>
                  <a:pt x="778764" y="166687"/>
                </a:cubicBezTo>
                <a:lnTo>
                  <a:pt x="778669" y="166687"/>
                </a:lnTo>
                <a:lnTo>
                  <a:pt x="778669" y="160306"/>
                </a:lnTo>
                <a:cubicBezTo>
                  <a:pt x="776955" y="128016"/>
                  <a:pt x="750285" y="102299"/>
                  <a:pt x="717519" y="102299"/>
                </a:cubicBezTo>
                <a:close/>
                <a:moveTo>
                  <a:pt x="366808" y="102299"/>
                </a:moveTo>
                <a:cubicBezTo>
                  <a:pt x="333089" y="102299"/>
                  <a:pt x="305657" y="129731"/>
                  <a:pt x="305657" y="163449"/>
                </a:cubicBezTo>
                <a:cubicBezTo>
                  <a:pt x="305657" y="197168"/>
                  <a:pt x="332994" y="224600"/>
                  <a:pt x="366808" y="224600"/>
                </a:cubicBezTo>
                <a:cubicBezTo>
                  <a:pt x="400527" y="224600"/>
                  <a:pt x="427958" y="197168"/>
                  <a:pt x="427958" y="163449"/>
                </a:cubicBezTo>
                <a:cubicBezTo>
                  <a:pt x="427958" y="129731"/>
                  <a:pt x="400527" y="102299"/>
                  <a:pt x="366808" y="102299"/>
                </a:cubicBezTo>
                <a:close/>
                <a:moveTo>
                  <a:pt x="962039" y="96385"/>
                </a:moveTo>
                <a:cubicBezTo>
                  <a:pt x="954578" y="96227"/>
                  <a:pt x="946666" y="97513"/>
                  <a:pt x="938499" y="100585"/>
                </a:cubicBezTo>
                <a:cubicBezTo>
                  <a:pt x="909733" y="111348"/>
                  <a:pt x="896779" y="136875"/>
                  <a:pt x="896779" y="159068"/>
                </a:cubicBezTo>
                <a:lnTo>
                  <a:pt x="896779" y="159164"/>
                </a:lnTo>
                <a:lnTo>
                  <a:pt x="1011746" y="127541"/>
                </a:lnTo>
                <a:cubicBezTo>
                  <a:pt x="1002744" y="110324"/>
                  <a:pt x="984421" y="96858"/>
                  <a:pt x="962039" y="96385"/>
                </a:cubicBezTo>
                <a:close/>
                <a:moveTo>
                  <a:pt x="1181005" y="57436"/>
                </a:moveTo>
                <a:cubicBezTo>
                  <a:pt x="1242060" y="52673"/>
                  <a:pt x="1295686" y="99346"/>
                  <a:pt x="1295686" y="165354"/>
                </a:cubicBezTo>
                <a:lnTo>
                  <a:pt x="1295686" y="266700"/>
                </a:lnTo>
                <a:lnTo>
                  <a:pt x="1254538" y="266700"/>
                </a:lnTo>
                <a:lnTo>
                  <a:pt x="1254538" y="235458"/>
                </a:lnTo>
                <a:cubicBezTo>
                  <a:pt x="1241108" y="258604"/>
                  <a:pt x="1211295" y="269558"/>
                  <a:pt x="1189292" y="269558"/>
                </a:cubicBezTo>
                <a:cubicBezTo>
                  <a:pt x="1128332" y="269558"/>
                  <a:pt x="1079373" y="218408"/>
                  <a:pt x="1083278" y="156591"/>
                </a:cubicBezTo>
                <a:cubicBezTo>
                  <a:pt x="1086612" y="104299"/>
                  <a:pt x="1128236" y="61627"/>
                  <a:pt x="1181005" y="57531"/>
                </a:cubicBezTo>
                <a:close/>
                <a:moveTo>
                  <a:pt x="956311" y="57246"/>
                </a:moveTo>
                <a:lnTo>
                  <a:pt x="956311" y="57341"/>
                </a:lnTo>
                <a:cubicBezTo>
                  <a:pt x="1023557" y="55436"/>
                  <a:pt x="1059466" y="111062"/>
                  <a:pt x="1064134" y="151924"/>
                </a:cubicBezTo>
                <a:lnTo>
                  <a:pt x="904876" y="195359"/>
                </a:lnTo>
                <a:cubicBezTo>
                  <a:pt x="915258" y="214980"/>
                  <a:pt x="941737" y="232506"/>
                  <a:pt x="970503" y="227172"/>
                </a:cubicBezTo>
                <a:cubicBezTo>
                  <a:pt x="991077" y="223267"/>
                  <a:pt x="1008984" y="208693"/>
                  <a:pt x="1016413" y="191930"/>
                </a:cubicBezTo>
                <a:lnTo>
                  <a:pt x="1057371" y="204121"/>
                </a:lnTo>
                <a:cubicBezTo>
                  <a:pt x="1041274" y="244889"/>
                  <a:pt x="1000507" y="270035"/>
                  <a:pt x="958787" y="270035"/>
                </a:cubicBezTo>
                <a:cubicBezTo>
                  <a:pt x="898970" y="270035"/>
                  <a:pt x="852488" y="222029"/>
                  <a:pt x="852488" y="164593"/>
                </a:cubicBezTo>
                <a:cubicBezTo>
                  <a:pt x="852488" y="102299"/>
                  <a:pt x="900494" y="58770"/>
                  <a:pt x="956311" y="57246"/>
                </a:cubicBezTo>
                <a:close/>
                <a:moveTo>
                  <a:pt x="366903" y="57055"/>
                </a:moveTo>
                <a:cubicBezTo>
                  <a:pt x="425673" y="57055"/>
                  <a:pt x="473298" y="104680"/>
                  <a:pt x="473298" y="163449"/>
                </a:cubicBezTo>
                <a:cubicBezTo>
                  <a:pt x="473298" y="222219"/>
                  <a:pt x="425673" y="269844"/>
                  <a:pt x="366903" y="269844"/>
                </a:cubicBezTo>
                <a:cubicBezTo>
                  <a:pt x="308134" y="269844"/>
                  <a:pt x="260509" y="222219"/>
                  <a:pt x="260509" y="163449"/>
                </a:cubicBezTo>
                <a:cubicBezTo>
                  <a:pt x="260509" y="104680"/>
                  <a:pt x="308134" y="57055"/>
                  <a:pt x="366903" y="57055"/>
                </a:cubicBezTo>
                <a:close/>
                <a:moveTo>
                  <a:pt x="605885" y="56769"/>
                </a:moveTo>
                <a:lnTo>
                  <a:pt x="605885" y="100393"/>
                </a:lnTo>
                <a:lnTo>
                  <a:pt x="605981" y="100393"/>
                </a:lnTo>
                <a:cubicBezTo>
                  <a:pt x="574453" y="102013"/>
                  <a:pt x="547307" y="120301"/>
                  <a:pt x="547307" y="167164"/>
                </a:cubicBezTo>
                <a:cubicBezTo>
                  <a:pt x="547307" y="205073"/>
                  <a:pt x="547402" y="204025"/>
                  <a:pt x="547402" y="266795"/>
                </a:cubicBezTo>
                <a:lnTo>
                  <a:pt x="500920" y="266795"/>
                </a:lnTo>
                <a:lnTo>
                  <a:pt x="500920" y="63722"/>
                </a:lnTo>
                <a:lnTo>
                  <a:pt x="546164" y="63722"/>
                </a:lnTo>
                <a:lnTo>
                  <a:pt x="546164" y="87154"/>
                </a:lnTo>
                <a:cubicBezTo>
                  <a:pt x="552069" y="76295"/>
                  <a:pt x="566166" y="56769"/>
                  <a:pt x="605885" y="56769"/>
                </a:cubicBezTo>
                <a:close/>
                <a:moveTo>
                  <a:pt x="0" y="21622"/>
                </a:moveTo>
                <a:lnTo>
                  <a:pt x="47339" y="21622"/>
                </a:lnTo>
                <a:lnTo>
                  <a:pt x="186214" y="185166"/>
                </a:lnTo>
                <a:lnTo>
                  <a:pt x="186214" y="21622"/>
                </a:lnTo>
                <a:lnTo>
                  <a:pt x="233077" y="21622"/>
                </a:lnTo>
                <a:lnTo>
                  <a:pt x="232982" y="266700"/>
                </a:lnTo>
                <a:lnTo>
                  <a:pt x="189548" y="266700"/>
                </a:lnTo>
                <a:lnTo>
                  <a:pt x="48959" y="102680"/>
                </a:lnTo>
                <a:lnTo>
                  <a:pt x="48959" y="266414"/>
                </a:lnTo>
                <a:lnTo>
                  <a:pt x="0" y="266414"/>
                </a:lnTo>
                <a:close/>
                <a:moveTo>
                  <a:pt x="780098" y="0"/>
                </a:moveTo>
                <a:lnTo>
                  <a:pt x="823722" y="0"/>
                </a:lnTo>
                <a:lnTo>
                  <a:pt x="823722" y="161449"/>
                </a:lnTo>
                <a:cubicBezTo>
                  <a:pt x="823722" y="162115"/>
                  <a:pt x="823722" y="162782"/>
                  <a:pt x="823722" y="163449"/>
                </a:cubicBezTo>
                <a:cubicBezTo>
                  <a:pt x="823722" y="164116"/>
                  <a:pt x="823722" y="164783"/>
                  <a:pt x="823722" y="165449"/>
                </a:cubicBezTo>
                <a:lnTo>
                  <a:pt x="823722" y="266795"/>
                </a:lnTo>
                <a:cubicBezTo>
                  <a:pt x="823722" y="266795"/>
                  <a:pt x="782765" y="266795"/>
                  <a:pt x="782765" y="266795"/>
                </a:cubicBezTo>
                <a:lnTo>
                  <a:pt x="782765" y="239649"/>
                </a:lnTo>
                <a:cubicBezTo>
                  <a:pt x="771906" y="258889"/>
                  <a:pt x="740283" y="269748"/>
                  <a:pt x="717519" y="269748"/>
                </a:cubicBezTo>
                <a:cubicBezTo>
                  <a:pt x="656559" y="269748"/>
                  <a:pt x="607600" y="218408"/>
                  <a:pt x="611505" y="156591"/>
                </a:cubicBezTo>
                <a:cubicBezTo>
                  <a:pt x="614839" y="104299"/>
                  <a:pt x="656940" y="61722"/>
                  <a:pt x="709232" y="57531"/>
                </a:cubicBezTo>
                <a:cubicBezTo>
                  <a:pt x="737235" y="55245"/>
                  <a:pt x="769716" y="66104"/>
                  <a:pt x="780098" y="79819"/>
                </a:cubicBezTo>
                <a:close/>
              </a:path>
            </a:pathLst>
          </a:custGeom>
          <a:solidFill>
            <a:schemeClr val="bg1"/>
          </a:soli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3308035909"/>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48800"/>
          </a:xfrm>
        </p:spPr>
        <p:txBody>
          <a:bodyPr>
            <a:noAutofit/>
          </a:bodyPr>
          <a:lstStyle>
            <a:lvl1pPr>
              <a:defRPr sz="2400">
                <a:solidFill>
                  <a:srgbClr val="FBD9CA"/>
                </a:solidFill>
              </a:defRPr>
            </a:lvl1pPr>
          </a:lstStyle>
          <a:p>
            <a:r>
              <a:rPr lang="en-GB"/>
              <a:t>Click to edit Master title style</a:t>
            </a:r>
          </a:p>
        </p:txBody>
      </p:sp>
      <p:sp>
        <p:nvSpPr>
          <p:cNvPr id="3" name="Subtitle 2"/>
          <p:cNvSpPr>
            <a:spLocks noGrp="1"/>
          </p:cNvSpPr>
          <p:nvPr>
            <p:ph type="subTitle" idx="1"/>
          </p:nvPr>
        </p:nvSpPr>
        <p:spPr>
          <a:xfrm>
            <a:off x="648000" y="2133650"/>
            <a:ext cx="7200000" cy="360083"/>
          </a:xfrm>
        </p:spPr>
        <p:txBody>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grpSp>
        <p:nvGrpSpPr>
          <p:cNvPr id="60" name="Pulse"/>
          <p:cNvGrpSpPr/>
          <p:nvPr userDrawn="1"/>
        </p:nvGrpSpPr>
        <p:grpSpPr>
          <a:xfrm>
            <a:off x="0" y="2990850"/>
            <a:ext cx="12204000" cy="3559175"/>
            <a:chOff x="0" y="2990850"/>
            <a:chExt cx="12204700" cy="3559175"/>
          </a:xfrm>
          <a:solidFill>
            <a:srgbClr val="0000FF"/>
          </a:solidFill>
        </p:grpSpPr>
        <p:sp>
          <p:nvSpPr>
            <p:cNvPr id="11"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Logotype"/>
          <p:cNvGrpSpPr/>
          <p:nvPr userDrawn="1"/>
        </p:nvGrpSpPr>
        <p:grpSpPr>
          <a:xfrm>
            <a:off x="641350" y="530890"/>
            <a:ext cx="1384039" cy="288609"/>
            <a:chOff x="9501453" y="6148765"/>
            <a:chExt cx="2047875" cy="427037"/>
          </a:xfrm>
          <a:solidFill>
            <a:schemeClr val="bg1"/>
          </a:solidFill>
        </p:grpSpPr>
        <p:sp>
          <p:nvSpPr>
            <p:cNvPr id="3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4044882"/>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rgbClr val="FDECE4"/>
        </a:solidFill>
        <a:effectLst/>
      </p:bgPr>
    </p:bg>
    <p:spTree>
      <p:nvGrpSpPr>
        <p:cNvPr id="1" name=""/>
        <p:cNvGrpSpPr/>
        <p:nvPr/>
      </p:nvGrpSpPr>
      <p:grpSpPr>
        <a:xfrm>
          <a:off x="0" y="0"/>
          <a:ext cx="0" cy="0"/>
          <a:chOff x="0" y="0"/>
          <a:chExt cx="0" cy="0"/>
        </a:xfrm>
      </p:grpSpPr>
      <p:sp useBgFill="1">
        <p:nvSpPr>
          <p:cNvPr id="28" name="Picture Placeholder 5"/>
          <p:cNvSpPr>
            <a:spLocks noGrp="1"/>
          </p:cNvSpPr>
          <p:nvPr>
            <p:ph type="pic" sz="quarter" idx="15" hasCustomPrompt="1"/>
          </p:nvPr>
        </p:nvSpPr>
        <p:spPr>
          <a:xfrm>
            <a:off x="0" y="0"/>
            <a:ext cx="12195175" cy="6859588"/>
          </a:xfrm>
        </p:spPr>
        <p:txBody>
          <a:bodyPr anchor="ctr" anchorCtr="0"/>
          <a:lstStyle>
            <a:lvl1pPr marL="0" indent="0" algn="ctr">
              <a:buNone/>
              <a:defRPr baseline="0">
                <a:solidFill>
                  <a:schemeClr val="tx1"/>
                </a:solidFill>
              </a:defRPr>
            </a:lvl1pPr>
          </a:lstStyle>
          <a:p>
            <a:r>
              <a:rPr lang="en-GB"/>
              <a:t>Insert picture by using Nordea Image Bank button or use as pink slide</a:t>
            </a:r>
          </a:p>
        </p:txBody>
      </p:sp>
      <p:sp>
        <p:nvSpPr>
          <p:cNvPr id="2" name="Title 1"/>
          <p:cNvSpPr>
            <a:spLocks noGrp="1"/>
          </p:cNvSpPr>
          <p:nvPr>
            <p:ph type="ctrTitle"/>
          </p:nvPr>
        </p:nvSpPr>
        <p:spPr>
          <a:xfrm>
            <a:off x="648000" y="1339200"/>
            <a:ext cx="7200000" cy="748800"/>
          </a:xfrm>
        </p:spPr>
        <p:txBody>
          <a:bodyPr>
            <a:noAutofit/>
          </a:bodyPr>
          <a:lstStyle>
            <a:lvl1pPr>
              <a:defRPr sz="24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99085697"/>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Image Blue">
    <p:bg>
      <p:bgPr>
        <a:solidFill>
          <a:schemeClr val="bg2"/>
        </a:solidFill>
        <a:effectLst/>
      </p:bgPr>
    </p:bg>
    <p:spTree>
      <p:nvGrpSpPr>
        <p:cNvPr id="1" name=""/>
        <p:cNvGrpSpPr/>
        <p:nvPr/>
      </p:nvGrpSpPr>
      <p:grpSpPr>
        <a:xfrm>
          <a:off x="0" y="0"/>
          <a:ext cx="0" cy="0"/>
          <a:chOff x="0" y="0"/>
          <a:chExt cx="0" cy="0"/>
        </a:xfrm>
      </p:grpSpPr>
      <p:sp>
        <p:nvSpPr>
          <p:cNvPr id="25" name="Rectangle 24"/>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648000" y="4783756"/>
            <a:ext cx="7200000" cy="626850"/>
          </a:xfrm>
        </p:spPr>
        <p:txBody>
          <a:bodyPr>
            <a:noAutofit/>
          </a:bodyPr>
          <a:lstStyle>
            <a:lvl1pPr>
              <a:defRPr sz="2400">
                <a:solidFill>
                  <a:srgbClr val="FBD9CA"/>
                </a:solidFill>
              </a:defRPr>
            </a:lvl1pPr>
          </a:lstStyle>
          <a:p>
            <a:r>
              <a:rPr lang="en-GB"/>
              <a:t>Click to edit Master title style</a:t>
            </a:r>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sp>
        <p:nvSpPr>
          <p:cNvPr id="7" name="Picture Placeholder 6"/>
          <p:cNvSpPr>
            <a:spLocks noGrp="1"/>
          </p:cNvSpPr>
          <p:nvPr>
            <p:ph type="pic" sz="quarter" idx="15" hasCustomPrompt="1"/>
          </p:nvPr>
        </p:nvSpPr>
        <p:spPr>
          <a:xfrm>
            <a:off x="-1" y="939600"/>
            <a:ext cx="12204000" cy="3816350"/>
          </a:xfrm>
          <a:noFill/>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en-GB"/>
              <a:t>Insert picture by using Nordea Image Bank button</a:t>
            </a:r>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 name="Logotype"/>
          <p:cNvGrpSpPr/>
          <p:nvPr userDrawn="1"/>
        </p:nvGrpSpPr>
        <p:grpSpPr>
          <a:xfrm>
            <a:off x="5371674" y="298072"/>
            <a:ext cx="1384039" cy="288609"/>
            <a:chOff x="9501453" y="6148765"/>
            <a:chExt cx="2047875" cy="427037"/>
          </a:xfrm>
          <a:solidFill>
            <a:schemeClr val="bg1"/>
          </a:solidFill>
        </p:grpSpPr>
        <p:sp>
          <p:nvSpPr>
            <p:cNvPr id="2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90958341"/>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ink">
    <p:bg>
      <p:bgPr>
        <a:solidFill>
          <a:srgbClr val="FDECE4"/>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3200" cy="6859588"/>
          </a:xfrm>
          <a:prstGeom prst="rect">
            <a:avLst/>
          </a:prstGeom>
          <a:solidFill>
            <a:srgbClr val="FDE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6"/>
          <p:cNvSpPr>
            <a:spLocks noGrp="1"/>
          </p:cNvSpPr>
          <p:nvPr>
            <p:ph type="pic" sz="quarter" idx="15" hasCustomPrompt="1"/>
          </p:nvPr>
        </p:nvSpPr>
        <p:spPr>
          <a:xfrm>
            <a:off x="-1" y="940414"/>
            <a:ext cx="12204000" cy="3816350"/>
          </a:xfrm>
          <a:noFill/>
        </p:spPr>
        <p:txBody>
          <a:bodyPr anchor="ctr" anchorCtr="0"/>
          <a:lstStyle>
            <a:lvl1pPr marL="0" indent="0" algn="ctr">
              <a:buNone/>
              <a:defRPr>
                <a:solidFill>
                  <a:schemeClr val="tx1"/>
                </a:solidFill>
              </a:defRPr>
            </a:lvl1pPr>
          </a:lstStyle>
          <a:p>
            <a:r>
              <a:rPr lang="en-GB"/>
              <a:t>Insert picture by using Nordea Image Bank button</a:t>
            </a:r>
          </a:p>
        </p:txBody>
      </p:sp>
      <p:sp>
        <p:nvSpPr>
          <p:cNvPr id="2" name="Title 1"/>
          <p:cNvSpPr>
            <a:spLocks noGrp="1"/>
          </p:cNvSpPr>
          <p:nvPr>
            <p:ph type="ctrTitle"/>
          </p:nvPr>
        </p:nvSpPr>
        <p:spPr>
          <a:xfrm>
            <a:off x="648000" y="4775994"/>
            <a:ext cx="7200000" cy="634612"/>
          </a:xfrm>
        </p:spPr>
        <p:txBody>
          <a:bodyPr>
            <a:noAutofit/>
          </a:bodyPr>
          <a:lstStyle>
            <a:lvl1pPr>
              <a:defRPr sz="24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grpSp>
        <p:nvGrpSpPr>
          <p:cNvPr id="16" name="Pulse"/>
          <p:cNvGrpSpPr/>
          <p:nvPr userDrawn="1"/>
        </p:nvGrpSpPr>
        <p:grpSpPr>
          <a:xfrm>
            <a:off x="8751888" y="3030538"/>
            <a:ext cx="3446462" cy="3490913"/>
            <a:chOff x="8751888" y="3030538"/>
            <a:chExt cx="3446462" cy="3490913"/>
          </a:xfrm>
          <a:solidFill>
            <a:schemeClr val="accent1"/>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Logotype"/>
          <p:cNvGrpSpPr/>
          <p:nvPr userDrawn="1"/>
        </p:nvGrpSpPr>
        <p:grpSpPr>
          <a:xfrm>
            <a:off x="5371674" y="298072"/>
            <a:ext cx="1384039" cy="288609"/>
            <a:chOff x="9501453" y="6148765"/>
            <a:chExt cx="2047875" cy="427037"/>
          </a:xfrm>
          <a:solidFill>
            <a:schemeClr val="bg2"/>
          </a:solidFill>
        </p:grpSpPr>
        <p:sp>
          <p:nvSpPr>
            <p:cNvPr id="3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36515623"/>
      </p:ext>
    </p:extLst>
  </p:cSld>
  <p:clrMapOvr>
    <a:overrideClrMapping bg1="lt1" tx1="dk1" bg2="lt2" tx2="dk2" accent1="accent1" accent2="accent2" accent3="accent3" accent4="accent4" accent5="accent5" accent6="accent6" hlink="hlink" folHlink="folHlink"/>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hapter 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72018" y="1089026"/>
            <a:ext cx="8402188" cy="999458"/>
          </a:xfrm>
        </p:spPr>
        <p:txBody>
          <a:bodyPr anchor="b" anchorCtr="0">
            <a:noAutofit/>
          </a:bodyPr>
          <a:lstStyle>
            <a:lvl1pPr algn="ctr">
              <a:defRPr sz="2900" b="1" cap="none" baseline="0">
                <a:solidFill>
                  <a:schemeClr val="bg2"/>
                </a:solidFill>
              </a:defRPr>
            </a:lvl1pPr>
          </a:lstStyle>
          <a:p>
            <a:r>
              <a:rPr lang="en-GB"/>
              <a:t>Click to edit Master title style</a:t>
            </a:r>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accent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a:t>Click to edit Master text styles</a:t>
            </a:r>
          </a:p>
        </p:txBody>
      </p:sp>
      <p:grpSp>
        <p:nvGrpSpPr>
          <p:cNvPr id="11" name="Pulse"/>
          <p:cNvGrpSpPr/>
          <p:nvPr userDrawn="1"/>
        </p:nvGrpSpPr>
        <p:grpSpPr>
          <a:xfrm>
            <a:off x="8751888" y="3030538"/>
            <a:ext cx="3446462" cy="3490913"/>
            <a:chOff x="8751888" y="3030538"/>
            <a:chExt cx="3446462" cy="3490913"/>
          </a:xfrm>
          <a:solidFill>
            <a:schemeClr val="accent1"/>
          </a:solidFill>
        </p:grpSpPr>
        <p:sp>
          <p:nvSpPr>
            <p:cNvPr id="12"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97679240"/>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hapter Divider Pulse Pattern">
    <p:bg>
      <p:bgPr>
        <a:solidFill>
          <a:srgbClr val="FDECE4"/>
        </a:solidFill>
        <a:effectLst/>
      </p:bgPr>
    </p:bg>
    <p:spTree>
      <p:nvGrpSpPr>
        <p:cNvPr id="1" name=""/>
        <p:cNvGrpSpPr/>
        <p:nvPr/>
      </p:nvGrpSpPr>
      <p:grpSpPr>
        <a:xfrm>
          <a:off x="0" y="0"/>
          <a:ext cx="0" cy="0"/>
          <a:chOff x="0" y="0"/>
          <a:chExt cx="0" cy="0"/>
        </a:xfrm>
      </p:grpSpPr>
      <p:sp useBgFill="1">
        <p:nvSpPr>
          <p:cNvPr id="53" name="Picture Placeholder 5"/>
          <p:cNvSpPr>
            <a:spLocks noGrp="1"/>
          </p:cNvSpPr>
          <p:nvPr>
            <p:ph type="pic" sz="quarter" idx="15" hasCustomPrompt="1"/>
          </p:nvPr>
        </p:nvSpPr>
        <p:spPr>
          <a:xfrm>
            <a:off x="0" y="0"/>
            <a:ext cx="12195175" cy="6859588"/>
          </a:xfrm>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en-GB"/>
              <a:t>Insert picture by using Nordea Image Bank button or use as pink slide</a:t>
            </a:r>
          </a:p>
        </p:txBody>
      </p:sp>
      <p:sp>
        <p:nvSpPr>
          <p:cNvPr id="2" name="Title 1"/>
          <p:cNvSpPr>
            <a:spLocks noGrp="1"/>
          </p:cNvSpPr>
          <p:nvPr>
            <p:ph type="title"/>
          </p:nvPr>
        </p:nvSpPr>
        <p:spPr>
          <a:xfrm>
            <a:off x="1872018" y="1090800"/>
            <a:ext cx="8402188" cy="1000800"/>
          </a:xfrm>
        </p:spPr>
        <p:txBody>
          <a:bodyPr anchor="b" anchorCtr="0">
            <a:noAutofit/>
          </a:bodyPr>
          <a:lstStyle>
            <a:lvl1pPr algn="ctr">
              <a:defRPr sz="2900" b="1" cap="none" baseline="0">
                <a:solidFill>
                  <a:schemeClr val="bg2"/>
                </a:solidFill>
              </a:defRPr>
            </a:lvl1pPr>
          </a:lstStyle>
          <a:p>
            <a:r>
              <a:rPr lang="en-GB"/>
              <a:t>Click to edit Master title style</a:t>
            </a:r>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tx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a:t>Click to edit Master text styles</a:t>
            </a:r>
          </a:p>
        </p:txBody>
      </p:sp>
      <p:grpSp>
        <p:nvGrpSpPr>
          <p:cNvPr id="28" name="Pulse"/>
          <p:cNvGrpSpPr/>
          <p:nvPr userDrawn="1"/>
        </p:nvGrpSpPr>
        <p:grpSpPr>
          <a:xfrm>
            <a:off x="0" y="2990850"/>
            <a:ext cx="12204000" cy="3559175"/>
            <a:chOff x="0" y="2990850"/>
            <a:chExt cx="12204700" cy="3559175"/>
          </a:xfrm>
          <a:solidFill>
            <a:srgbClr val="0000A0"/>
          </a:solidFill>
        </p:grpSpPr>
        <p:sp>
          <p:nvSpPr>
            <p:cNvPr id="29"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332205375"/>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89025"/>
            <a:ext cx="6864086" cy="2268744"/>
          </a:xfrm>
        </p:spPr>
        <p:txBody>
          <a:bodyPr>
            <a:noAutofit/>
          </a:bodyPr>
          <a:lstStyle>
            <a:lvl1pPr algn="ctr">
              <a:defRPr sz="3000">
                <a:solidFill>
                  <a:srgbClr val="0000A0"/>
                </a:solidFill>
              </a:defRPr>
            </a:lvl1pPr>
          </a:lstStyle>
          <a:p>
            <a:r>
              <a:rPr lang="en-GB"/>
              <a:t>Click and type quote</a:t>
            </a:r>
          </a:p>
        </p:txBody>
      </p:sp>
      <p:sp>
        <p:nvSpPr>
          <p:cNvPr id="5" name="Slide Number Placeholder 4"/>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p>
        </p:txBody>
      </p:sp>
      <p:sp>
        <p:nvSpPr>
          <p:cNvPr id="3" name="Footer Placeholder 2"/>
          <p:cNvSpPr>
            <a:spLocks noGrp="1"/>
          </p:cNvSpPr>
          <p:nvPr>
            <p:ph type="ftr" sz="quarter" idx="14"/>
          </p:nvPr>
        </p:nvSpPr>
        <p:spPr/>
        <p:txBody>
          <a:bodyPr/>
          <a:lstStyle>
            <a:lvl1pPr>
              <a:defRPr>
                <a:solidFill>
                  <a:srgbClr val="8B8A8D"/>
                </a:solidFill>
              </a:defRPr>
            </a:lvl1pPr>
          </a:lstStyle>
          <a:p>
            <a:endParaRPr lang="en-GB"/>
          </a:p>
        </p:txBody>
      </p:sp>
    </p:spTree>
    <p:extLst>
      <p:ext uri="{BB962C8B-B14F-4D97-AF65-F5344CB8AC3E}">
        <p14:creationId xmlns:p14="http://schemas.microsoft.com/office/powerpoint/2010/main" val="21348446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90800"/>
            <a:ext cx="6864086" cy="2268000"/>
          </a:xfrm>
        </p:spPr>
        <p:txBody>
          <a:bodyPr>
            <a:noAutofit/>
          </a:bodyPr>
          <a:lstStyle>
            <a:lvl1pPr algn="ctr">
              <a:defRPr sz="3000">
                <a:solidFill>
                  <a:srgbClr val="FBD9CA"/>
                </a:solidFill>
              </a:defRPr>
            </a:lvl1pPr>
          </a:lstStyle>
          <a:p>
            <a:r>
              <a:rPr lang="en-GB"/>
              <a:t>Click and type quot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Logotype, static"/>
          <p:cNvGrpSpPr/>
          <p:nvPr userDrawn="1"/>
        </p:nvGrpSpPr>
        <p:grpSpPr>
          <a:xfrm>
            <a:off x="10689465" y="6389301"/>
            <a:ext cx="863687" cy="180102"/>
            <a:chOff x="9501453" y="6148765"/>
            <a:chExt cx="2047875" cy="427037"/>
          </a:xfrm>
          <a:solidFill>
            <a:schemeClr val="bg1"/>
          </a:solidFill>
        </p:grpSpPr>
        <p:sp>
          <p:nvSpPr>
            <p:cNvPr id="2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28643464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Quot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66246"/>
            <a:ext cx="6864086" cy="2327243"/>
          </a:xfrm>
        </p:spPr>
        <p:txBody>
          <a:bodyPr>
            <a:noAutofit/>
          </a:bodyPr>
          <a:lstStyle>
            <a:lvl1pPr algn="ctr">
              <a:defRPr sz="3000">
                <a:solidFill>
                  <a:srgbClr val="FBD9CA"/>
                </a:solidFill>
              </a:defRPr>
            </a:lvl1pPr>
          </a:lstStyle>
          <a:p>
            <a:r>
              <a:rPr lang="en-GB"/>
              <a:t>Click and type quot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a:p>
        </p:txBody>
      </p:sp>
      <p:sp>
        <p:nvSpPr>
          <p:cNvPr id="6" name="Text Placeholder 9"/>
          <p:cNvSpPr>
            <a:spLocks noGrp="1"/>
          </p:cNvSpPr>
          <p:nvPr>
            <p:ph type="body" sz="quarter" idx="13" hasCustomPrompt="1"/>
          </p:nvPr>
        </p:nvSpPr>
        <p:spPr>
          <a:xfrm>
            <a:off x="2641203" y="270924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Pulse"/>
          <p:cNvGrpSpPr/>
          <p:nvPr userDrawn="1"/>
        </p:nvGrpSpPr>
        <p:grpSpPr>
          <a:xfrm>
            <a:off x="0" y="3348038"/>
            <a:ext cx="12204700" cy="2643187"/>
            <a:chOff x="0" y="3348038"/>
            <a:chExt cx="12204700" cy="2643187"/>
          </a:xfrm>
          <a:solidFill>
            <a:srgbClr val="0000FF"/>
          </a:solidFill>
        </p:grpSpPr>
        <p:sp>
          <p:nvSpPr>
            <p:cNvPr id="45" name="Freeform 5"/>
            <p:cNvSpPr>
              <a:spLocks/>
            </p:cNvSpPr>
            <p:nvPr userDrawn="1"/>
          </p:nvSpPr>
          <p:spPr bwMode="auto">
            <a:xfrm>
              <a:off x="190658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6"/>
            <p:cNvSpPr>
              <a:spLocks/>
            </p:cNvSpPr>
            <p:nvPr userDrawn="1"/>
          </p:nvSpPr>
          <p:spPr bwMode="auto">
            <a:xfrm>
              <a:off x="397986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7"/>
            <p:cNvSpPr>
              <a:spLocks/>
            </p:cNvSpPr>
            <p:nvPr userDrawn="1"/>
          </p:nvSpPr>
          <p:spPr bwMode="auto">
            <a:xfrm>
              <a:off x="158591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8"/>
            <p:cNvSpPr>
              <a:spLocks/>
            </p:cNvSpPr>
            <p:nvPr userDrawn="1"/>
          </p:nvSpPr>
          <p:spPr bwMode="auto">
            <a:xfrm>
              <a:off x="3524250" y="4548188"/>
              <a:ext cx="325438" cy="809625"/>
            </a:xfrm>
            <a:custGeom>
              <a:avLst/>
              <a:gdLst>
                <a:gd name="T0" fmla="*/ 51 w 102"/>
                <a:gd name="T1" fmla="*/ 254 h 254"/>
                <a:gd name="T2" fmla="*/ 51 w 102"/>
                <a:gd name="T3" fmla="*/ 254 h 254"/>
                <a:gd name="T4" fmla="*/ 0 w 102"/>
                <a:gd name="T5" fmla="*/ 203 h 254"/>
                <a:gd name="T6" fmla="*/ 0 w 102"/>
                <a:gd name="T7" fmla="*/ 51 h 254"/>
                <a:gd name="T8" fmla="*/ 51 w 102"/>
                <a:gd name="T9" fmla="*/ 0 h 254"/>
                <a:gd name="T10" fmla="*/ 102 w 102"/>
                <a:gd name="T11" fmla="*/ 51 h 254"/>
                <a:gd name="T12" fmla="*/ 102 w 102"/>
                <a:gd name="T13" fmla="*/ 203 h 254"/>
                <a:gd name="T14" fmla="*/ 51 w 102"/>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4">
                  <a:moveTo>
                    <a:pt x="51" y="254"/>
                  </a:moveTo>
                  <a:cubicBezTo>
                    <a:pt x="51" y="254"/>
                    <a:pt x="51" y="254"/>
                    <a:pt x="51" y="254"/>
                  </a:cubicBezTo>
                  <a:cubicBezTo>
                    <a:pt x="23" y="254"/>
                    <a:pt x="0" y="232"/>
                    <a:pt x="0" y="203"/>
                  </a:cubicBezTo>
                  <a:cubicBezTo>
                    <a:pt x="0" y="51"/>
                    <a:pt x="0" y="51"/>
                    <a:pt x="0" y="51"/>
                  </a:cubicBezTo>
                  <a:cubicBezTo>
                    <a:pt x="0" y="23"/>
                    <a:pt x="23" y="0"/>
                    <a:pt x="51" y="0"/>
                  </a:cubicBezTo>
                  <a:cubicBezTo>
                    <a:pt x="79" y="0"/>
                    <a:pt x="102" y="23"/>
                    <a:pt x="102" y="51"/>
                  </a:cubicBezTo>
                  <a:cubicBezTo>
                    <a:pt x="102" y="203"/>
                    <a:pt x="102" y="203"/>
                    <a:pt x="102" y="203"/>
                  </a:cubicBezTo>
                  <a:cubicBezTo>
                    <a:pt x="102"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9"/>
            <p:cNvSpPr>
              <a:spLocks/>
            </p:cNvSpPr>
            <p:nvPr userDrawn="1"/>
          </p:nvSpPr>
          <p:spPr bwMode="auto">
            <a:xfrm>
              <a:off x="2393950" y="3462338"/>
              <a:ext cx="403225" cy="1814513"/>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7" y="29"/>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0"/>
            <p:cNvSpPr>
              <a:spLocks/>
            </p:cNvSpPr>
            <p:nvPr userDrawn="1"/>
          </p:nvSpPr>
          <p:spPr bwMode="auto">
            <a:xfrm>
              <a:off x="311150" y="3462338"/>
              <a:ext cx="406400" cy="1814513"/>
            </a:xfrm>
            <a:custGeom>
              <a:avLst/>
              <a:gdLst>
                <a:gd name="T0" fmla="*/ 64 w 128"/>
                <a:gd name="T1" fmla="*/ 570 h 570"/>
                <a:gd name="T2" fmla="*/ 64 w 128"/>
                <a:gd name="T3" fmla="*/ 570 h 570"/>
                <a:gd name="T4" fmla="*/ 0 w 128"/>
                <a:gd name="T5" fmla="*/ 506 h 570"/>
                <a:gd name="T6" fmla="*/ 0 w 128"/>
                <a:gd name="T7" fmla="*/ 64 h 570"/>
                <a:gd name="T8" fmla="*/ 64 w 128"/>
                <a:gd name="T9" fmla="*/ 0 h 570"/>
                <a:gd name="T10" fmla="*/ 128 w 128"/>
                <a:gd name="T11" fmla="*/ 64 h 570"/>
                <a:gd name="T12" fmla="*/ 128 w 128"/>
                <a:gd name="T13" fmla="*/ 506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8" y="29"/>
                    <a:pt x="128" y="64"/>
                  </a:cubicBezTo>
                  <a:cubicBezTo>
                    <a:pt x="128" y="506"/>
                    <a:pt x="128" y="506"/>
                    <a:pt x="128" y="506"/>
                  </a:cubicBezTo>
                  <a:cubicBezTo>
                    <a:pt x="128"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1"/>
            <p:cNvSpPr>
              <a:spLocks/>
            </p:cNvSpPr>
            <p:nvPr userDrawn="1"/>
          </p:nvSpPr>
          <p:spPr bwMode="auto">
            <a:xfrm>
              <a:off x="2959100" y="4175125"/>
              <a:ext cx="403225" cy="1816100"/>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8"/>
                    <a:pt x="29" y="0"/>
                    <a:pt x="64" y="0"/>
                  </a:cubicBezTo>
                  <a:cubicBezTo>
                    <a:pt x="99" y="0"/>
                    <a:pt x="127" y="28"/>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2"/>
            <p:cNvSpPr>
              <a:spLocks noEditPoints="1"/>
            </p:cNvSpPr>
            <p:nvPr userDrawn="1"/>
          </p:nvSpPr>
          <p:spPr bwMode="auto">
            <a:xfrm>
              <a:off x="1131888" y="4548188"/>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2"/>
                    <a:pt x="23" y="254"/>
                    <a:pt x="51" y="254"/>
                  </a:cubicBezTo>
                  <a:cubicBezTo>
                    <a:pt x="79" y="254"/>
                    <a:pt x="102" y="232"/>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3"/>
            <p:cNvSpPr>
              <a:spLocks noEditPoints="1"/>
            </p:cNvSpPr>
            <p:nvPr userDrawn="1"/>
          </p:nvSpPr>
          <p:spPr bwMode="auto">
            <a:xfrm>
              <a:off x="565150" y="4175125"/>
              <a:ext cx="404813" cy="1816100"/>
            </a:xfrm>
            <a:custGeom>
              <a:avLst/>
              <a:gdLst>
                <a:gd name="T0" fmla="*/ 64 w 127"/>
                <a:gd name="T1" fmla="*/ 10 h 570"/>
                <a:gd name="T2" fmla="*/ 117 w 127"/>
                <a:gd name="T3" fmla="*/ 64 h 570"/>
                <a:gd name="T4" fmla="*/ 117 w 127"/>
                <a:gd name="T5" fmla="*/ 506 h 570"/>
                <a:gd name="T6" fmla="*/ 64 w 127"/>
                <a:gd name="T7" fmla="*/ 560 h 570"/>
                <a:gd name="T8" fmla="*/ 10 w 127"/>
                <a:gd name="T9" fmla="*/ 506 h 570"/>
                <a:gd name="T10" fmla="*/ 10 w 127"/>
                <a:gd name="T11" fmla="*/ 64 h 570"/>
                <a:gd name="T12" fmla="*/ 64 w 127"/>
                <a:gd name="T13" fmla="*/ 10 h 570"/>
                <a:gd name="T14" fmla="*/ 64 w 127"/>
                <a:gd name="T15" fmla="*/ 0 h 570"/>
                <a:gd name="T16" fmla="*/ 0 w 127"/>
                <a:gd name="T17" fmla="*/ 64 h 570"/>
                <a:gd name="T18" fmla="*/ 0 w 127"/>
                <a:gd name="T19" fmla="*/ 506 h 570"/>
                <a:gd name="T20" fmla="*/ 64 w 127"/>
                <a:gd name="T21" fmla="*/ 570 h 570"/>
                <a:gd name="T22" fmla="*/ 127 w 127"/>
                <a:gd name="T23" fmla="*/ 506 h 570"/>
                <a:gd name="T24" fmla="*/ 127 w 127"/>
                <a:gd name="T25" fmla="*/ 64 h 570"/>
                <a:gd name="T26" fmla="*/ 64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4" y="10"/>
                  </a:moveTo>
                  <a:cubicBezTo>
                    <a:pt x="93" y="10"/>
                    <a:pt x="117" y="34"/>
                    <a:pt x="117" y="64"/>
                  </a:cubicBezTo>
                  <a:cubicBezTo>
                    <a:pt x="117" y="506"/>
                    <a:pt x="117" y="506"/>
                    <a:pt x="117" y="506"/>
                  </a:cubicBezTo>
                  <a:cubicBezTo>
                    <a:pt x="117" y="536"/>
                    <a:pt x="93" y="560"/>
                    <a:pt x="64" y="560"/>
                  </a:cubicBezTo>
                  <a:cubicBezTo>
                    <a:pt x="34" y="560"/>
                    <a:pt x="10" y="536"/>
                    <a:pt x="10" y="506"/>
                  </a:cubicBezTo>
                  <a:cubicBezTo>
                    <a:pt x="10" y="64"/>
                    <a:pt x="10" y="64"/>
                    <a:pt x="10" y="64"/>
                  </a:cubicBezTo>
                  <a:cubicBezTo>
                    <a:pt x="10" y="34"/>
                    <a:pt x="34" y="10"/>
                    <a:pt x="64" y="10"/>
                  </a:cubicBezTo>
                  <a:moveTo>
                    <a:pt x="64" y="0"/>
                  </a:moveTo>
                  <a:cubicBezTo>
                    <a:pt x="29" y="0"/>
                    <a:pt x="0" y="28"/>
                    <a:pt x="0" y="64"/>
                  </a:cubicBezTo>
                  <a:cubicBezTo>
                    <a:pt x="0" y="506"/>
                    <a:pt x="0" y="506"/>
                    <a:pt x="0" y="506"/>
                  </a:cubicBezTo>
                  <a:cubicBezTo>
                    <a:pt x="0" y="541"/>
                    <a:pt x="29" y="570"/>
                    <a:pt x="64" y="570"/>
                  </a:cubicBezTo>
                  <a:cubicBezTo>
                    <a:pt x="99" y="570"/>
                    <a:pt x="127" y="541"/>
                    <a:pt x="127" y="506"/>
                  </a:cubicBezTo>
                  <a:cubicBezTo>
                    <a:pt x="127" y="64"/>
                    <a:pt x="127" y="64"/>
                    <a:pt x="127" y="64"/>
                  </a:cubicBezTo>
                  <a:cubicBezTo>
                    <a:pt x="127" y="28"/>
                    <a:pt x="99"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4"/>
            <p:cNvSpPr>
              <a:spLocks/>
            </p:cNvSpPr>
            <p:nvPr userDrawn="1"/>
          </p:nvSpPr>
          <p:spPr bwMode="auto">
            <a:xfrm>
              <a:off x="1043463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5"/>
            <p:cNvSpPr>
              <a:spLocks/>
            </p:cNvSpPr>
            <p:nvPr userDrawn="1"/>
          </p:nvSpPr>
          <p:spPr bwMode="auto">
            <a:xfrm>
              <a:off x="10110788" y="4564063"/>
              <a:ext cx="193675" cy="325438"/>
            </a:xfrm>
            <a:custGeom>
              <a:avLst/>
              <a:gdLst>
                <a:gd name="T0" fmla="*/ 31 w 61"/>
                <a:gd name="T1" fmla="*/ 102 h 102"/>
                <a:gd name="T2" fmla="*/ 31 w 61"/>
                <a:gd name="T3" fmla="*/ 102 h 102"/>
                <a:gd name="T4" fmla="*/ 0 w 61"/>
                <a:gd name="T5" fmla="*/ 71 h 102"/>
                <a:gd name="T6" fmla="*/ 0 w 61"/>
                <a:gd name="T7" fmla="*/ 30 h 102"/>
                <a:gd name="T8" fmla="*/ 31 w 61"/>
                <a:gd name="T9" fmla="*/ 0 h 102"/>
                <a:gd name="T10" fmla="*/ 61 w 61"/>
                <a:gd name="T11" fmla="*/ 30 h 102"/>
                <a:gd name="T12" fmla="*/ 61 w 61"/>
                <a:gd name="T13" fmla="*/ 71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8"/>
                    <a:pt x="0" y="71"/>
                  </a:cubicBezTo>
                  <a:cubicBezTo>
                    <a:pt x="0" y="30"/>
                    <a:pt x="0" y="30"/>
                    <a:pt x="0" y="30"/>
                  </a:cubicBezTo>
                  <a:cubicBezTo>
                    <a:pt x="0" y="14"/>
                    <a:pt x="14" y="0"/>
                    <a:pt x="31" y="0"/>
                  </a:cubicBezTo>
                  <a:cubicBezTo>
                    <a:pt x="48" y="0"/>
                    <a:pt x="61" y="14"/>
                    <a:pt x="61" y="30"/>
                  </a:cubicBezTo>
                  <a:cubicBezTo>
                    <a:pt x="61" y="71"/>
                    <a:pt x="61" y="71"/>
                    <a:pt x="61" y="71"/>
                  </a:cubicBezTo>
                  <a:cubicBezTo>
                    <a:pt x="61" y="88"/>
                    <a:pt x="48"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6"/>
            <p:cNvSpPr>
              <a:spLocks/>
            </p:cNvSpPr>
            <p:nvPr userDrawn="1"/>
          </p:nvSpPr>
          <p:spPr bwMode="auto">
            <a:xfrm>
              <a:off x="10920413" y="3462338"/>
              <a:ext cx="403225" cy="1814513"/>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9"/>
                    <a:pt x="28" y="0"/>
                    <a:pt x="63" y="0"/>
                  </a:cubicBezTo>
                  <a:cubicBezTo>
                    <a:pt x="98" y="0"/>
                    <a:pt x="127" y="29"/>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17"/>
            <p:cNvSpPr>
              <a:spLocks/>
            </p:cNvSpPr>
            <p:nvPr userDrawn="1"/>
          </p:nvSpPr>
          <p:spPr bwMode="auto">
            <a:xfrm>
              <a:off x="1148715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9" y="0"/>
                    <a:pt x="127" y="28"/>
                    <a:pt x="127" y="64"/>
                  </a:cubicBezTo>
                  <a:cubicBezTo>
                    <a:pt x="127" y="506"/>
                    <a:pt x="127" y="506"/>
                    <a:pt x="127" y="506"/>
                  </a:cubicBezTo>
                  <a:cubicBezTo>
                    <a:pt x="127" y="541"/>
                    <a:pt x="99"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8"/>
            <p:cNvSpPr>
              <a:spLocks noEditPoints="1"/>
            </p:cNvSpPr>
            <p:nvPr userDrawn="1"/>
          </p:nvSpPr>
          <p:spPr bwMode="auto">
            <a:xfrm>
              <a:off x="8367713" y="4159250"/>
              <a:ext cx="325438"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51 w 102"/>
                <a:gd name="T17" fmla="*/ 0 h 254"/>
                <a:gd name="T18" fmla="*/ 0 w 102"/>
                <a:gd name="T19" fmla="*/ 51 h 254"/>
                <a:gd name="T20" fmla="*/ 0 w 102"/>
                <a:gd name="T21" fmla="*/ 203 h 254"/>
                <a:gd name="T22" fmla="*/ 51 w 102"/>
                <a:gd name="T23" fmla="*/ 254 h 254"/>
                <a:gd name="T24" fmla="*/ 102 w 102"/>
                <a:gd name="T25" fmla="*/ 203 h 254"/>
                <a:gd name="T26" fmla="*/ 102 w 102"/>
                <a:gd name="T27" fmla="*/ 51 h 254"/>
                <a:gd name="T28" fmla="*/ 51 w 102"/>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254">
                  <a:moveTo>
                    <a:pt x="51" y="10"/>
                  </a:moveTo>
                  <a:cubicBezTo>
                    <a:pt x="73" y="10"/>
                    <a:pt x="92" y="28"/>
                    <a:pt x="92" y="51"/>
                  </a:cubicBezTo>
                  <a:cubicBezTo>
                    <a:pt x="92" y="203"/>
                    <a:pt x="92" y="203"/>
                    <a:pt x="92" y="203"/>
                  </a:cubicBezTo>
                  <a:cubicBezTo>
                    <a:pt x="92" y="226"/>
                    <a:pt x="73" y="244"/>
                    <a:pt x="51" y="244"/>
                  </a:cubicBezTo>
                  <a:cubicBezTo>
                    <a:pt x="28" y="244"/>
                    <a:pt x="10" y="226"/>
                    <a:pt x="10" y="203"/>
                  </a:cubicBezTo>
                  <a:cubicBezTo>
                    <a:pt x="10" y="51"/>
                    <a:pt x="10" y="51"/>
                    <a:pt x="10" y="51"/>
                  </a:cubicBezTo>
                  <a:cubicBezTo>
                    <a:pt x="10" y="28"/>
                    <a:pt x="28" y="10"/>
                    <a:pt x="51" y="10"/>
                  </a:cubicBezTo>
                  <a:moveTo>
                    <a:pt x="51" y="0"/>
                  </a:moveTo>
                  <a:cubicBezTo>
                    <a:pt x="51" y="0"/>
                    <a:pt x="51" y="0"/>
                    <a:pt x="51" y="0"/>
                  </a:cubicBez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9"/>
            <p:cNvSpPr>
              <a:spLocks/>
            </p:cNvSpPr>
            <p:nvPr userDrawn="1"/>
          </p:nvSpPr>
          <p:spPr bwMode="auto">
            <a:xfrm>
              <a:off x="9658350" y="4548188"/>
              <a:ext cx="322263" cy="809625"/>
            </a:xfrm>
            <a:custGeom>
              <a:avLst/>
              <a:gdLst>
                <a:gd name="T0" fmla="*/ 51 w 101"/>
                <a:gd name="T1" fmla="*/ 254 h 254"/>
                <a:gd name="T2" fmla="*/ 51 w 101"/>
                <a:gd name="T3" fmla="*/ 254 h 254"/>
                <a:gd name="T4" fmla="*/ 0 w 101"/>
                <a:gd name="T5" fmla="*/ 203 h 254"/>
                <a:gd name="T6" fmla="*/ 0 w 101"/>
                <a:gd name="T7" fmla="*/ 51 h 254"/>
                <a:gd name="T8" fmla="*/ 51 w 101"/>
                <a:gd name="T9" fmla="*/ 0 h 254"/>
                <a:gd name="T10" fmla="*/ 101 w 101"/>
                <a:gd name="T11" fmla="*/ 51 h 254"/>
                <a:gd name="T12" fmla="*/ 101 w 101"/>
                <a:gd name="T13" fmla="*/ 203 h 254"/>
                <a:gd name="T14" fmla="*/ 51 w 101"/>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4">
                  <a:moveTo>
                    <a:pt x="51" y="254"/>
                  </a:moveTo>
                  <a:cubicBezTo>
                    <a:pt x="51" y="254"/>
                    <a:pt x="51" y="254"/>
                    <a:pt x="51" y="254"/>
                  </a:cubicBezTo>
                  <a:cubicBezTo>
                    <a:pt x="22" y="254"/>
                    <a:pt x="0" y="232"/>
                    <a:pt x="0" y="203"/>
                  </a:cubicBezTo>
                  <a:cubicBezTo>
                    <a:pt x="0" y="51"/>
                    <a:pt x="0" y="51"/>
                    <a:pt x="0" y="51"/>
                  </a:cubicBezTo>
                  <a:cubicBezTo>
                    <a:pt x="0" y="23"/>
                    <a:pt x="22" y="0"/>
                    <a:pt x="51" y="0"/>
                  </a:cubicBezTo>
                  <a:cubicBezTo>
                    <a:pt x="79" y="0"/>
                    <a:pt x="101" y="23"/>
                    <a:pt x="101" y="51"/>
                  </a:cubicBezTo>
                  <a:cubicBezTo>
                    <a:pt x="101" y="203"/>
                    <a:pt x="101" y="203"/>
                    <a:pt x="101" y="203"/>
                  </a:cubicBezTo>
                  <a:cubicBezTo>
                    <a:pt x="101"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20"/>
            <p:cNvSpPr>
              <a:spLocks noEditPoints="1"/>
            </p:cNvSpPr>
            <p:nvPr userDrawn="1"/>
          </p:nvSpPr>
          <p:spPr bwMode="auto">
            <a:xfrm>
              <a:off x="8855075"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8" y="570"/>
                    <a:pt x="127" y="542"/>
                    <a:pt x="127" y="507"/>
                  </a:cubicBezTo>
                  <a:cubicBezTo>
                    <a:pt x="127" y="64"/>
                    <a:pt x="127" y="64"/>
                    <a:pt x="127" y="64"/>
                  </a:cubicBezTo>
                  <a:cubicBezTo>
                    <a:pt x="127" y="29"/>
                    <a:pt x="98"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21"/>
            <p:cNvSpPr>
              <a:spLocks noEditPoints="1"/>
            </p:cNvSpPr>
            <p:nvPr userDrawn="1"/>
          </p:nvSpPr>
          <p:spPr bwMode="auto">
            <a:xfrm>
              <a:off x="4075113" y="4159250"/>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22"/>
            <p:cNvSpPr>
              <a:spLocks noEditPoints="1"/>
            </p:cNvSpPr>
            <p:nvPr userDrawn="1"/>
          </p:nvSpPr>
          <p:spPr bwMode="auto">
            <a:xfrm>
              <a:off x="4560888"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9" y="570"/>
                    <a:pt x="127" y="542"/>
                    <a:pt x="127" y="507"/>
                  </a:cubicBezTo>
                  <a:cubicBezTo>
                    <a:pt x="127" y="64"/>
                    <a:pt x="127" y="64"/>
                    <a:pt x="127" y="64"/>
                  </a:cubicBezTo>
                  <a:cubicBezTo>
                    <a:pt x="127" y="29"/>
                    <a:pt x="99"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23"/>
            <p:cNvSpPr>
              <a:spLocks/>
            </p:cNvSpPr>
            <p:nvPr userDrawn="1"/>
          </p:nvSpPr>
          <p:spPr bwMode="auto">
            <a:xfrm>
              <a:off x="909320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8" y="0"/>
                    <a:pt x="127" y="28"/>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4"/>
            <p:cNvSpPr>
              <a:spLocks noEditPoints="1"/>
            </p:cNvSpPr>
            <p:nvPr userDrawn="1"/>
          </p:nvSpPr>
          <p:spPr bwMode="auto">
            <a:xfrm>
              <a:off x="5940425" y="3981450"/>
              <a:ext cx="323850" cy="808038"/>
            </a:xfrm>
            <a:custGeom>
              <a:avLst/>
              <a:gdLst>
                <a:gd name="T0" fmla="*/ 51 w 102"/>
                <a:gd name="T1" fmla="*/ 10 h 254"/>
                <a:gd name="T2" fmla="*/ 91 w 102"/>
                <a:gd name="T3" fmla="*/ 51 h 254"/>
                <a:gd name="T4" fmla="*/ 91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3" y="10"/>
                    <a:pt x="91" y="28"/>
                    <a:pt x="91" y="51"/>
                  </a:cubicBezTo>
                  <a:cubicBezTo>
                    <a:pt x="91" y="203"/>
                    <a:pt x="91" y="203"/>
                    <a:pt x="91" y="203"/>
                  </a:cubicBezTo>
                  <a:cubicBezTo>
                    <a:pt x="91" y="226"/>
                    <a:pt x="73" y="244"/>
                    <a:pt x="51" y="244"/>
                  </a:cubicBezTo>
                  <a:cubicBezTo>
                    <a:pt x="28" y="244"/>
                    <a:pt x="10" y="226"/>
                    <a:pt x="10" y="203"/>
                  </a:cubicBezTo>
                  <a:cubicBezTo>
                    <a:pt x="10" y="51"/>
                    <a:pt x="10" y="51"/>
                    <a:pt x="10" y="51"/>
                  </a:cubicBezTo>
                  <a:cubicBezTo>
                    <a:pt x="10" y="28"/>
                    <a:pt x="28"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5"/>
            <p:cNvSpPr>
              <a:spLocks/>
            </p:cNvSpPr>
            <p:nvPr userDrawn="1"/>
          </p:nvSpPr>
          <p:spPr bwMode="auto">
            <a:xfrm>
              <a:off x="8008938" y="4449763"/>
              <a:ext cx="193675" cy="323850"/>
            </a:xfrm>
            <a:custGeom>
              <a:avLst/>
              <a:gdLst>
                <a:gd name="T0" fmla="*/ 31 w 61"/>
                <a:gd name="T1" fmla="*/ 102 h 102"/>
                <a:gd name="T2" fmla="*/ 31 w 61"/>
                <a:gd name="T3" fmla="*/ 102 h 102"/>
                <a:gd name="T4" fmla="*/ 0 w 61"/>
                <a:gd name="T5" fmla="*/ 72 h 102"/>
                <a:gd name="T6" fmla="*/ 0 w 61"/>
                <a:gd name="T7" fmla="*/ 31 h 102"/>
                <a:gd name="T8" fmla="*/ 31 w 61"/>
                <a:gd name="T9" fmla="*/ 0 h 102"/>
                <a:gd name="T10" fmla="*/ 61 w 61"/>
                <a:gd name="T11" fmla="*/ 31 h 102"/>
                <a:gd name="T12" fmla="*/ 61 w 61"/>
                <a:gd name="T13" fmla="*/ 72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9"/>
                    <a:pt x="0" y="72"/>
                  </a:cubicBezTo>
                  <a:cubicBezTo>
                    <a:pt x="0" y="31"/>
                    <a:pt x="0" y="31"/>
                    <a:pt x="0" y="31"/>
                  </a:cubicBezTo>
                  <a:cubicBezTo>
                    <a:pt x="0" y="14"/>
                    <a:pt x="14" y="0"/>
                    <a:pt x="31" y="0"/>
                  </a:cubicBezTo>
                  <a:cubicBezTo>
                    <a:pt x="47" y="0"/>
                    <a:pt x="61" y="14"/>
                    <a:pt x="61" y="31"/>
                  </a:cubicBezTo>
                  <a:cubicBezTo>
                    <a:pt x="61" y="72"/>
                    <a:pt x="61" y="72"/>
                    <a:pt x="61" y="72"/>
                  </a:cubicBezTo>
                  <a:cubicBezTo>
                    <a:pt x="61" y="89"/>
                    <a:pt x="47"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6"/>
            <p:cNvSpPr>
              <a:spLocks noEditPoints="1"/>
            </p:cNvSpPr>
            <p:nvPr userDrawn="1"/>
          </p:nvSpPr>
          <p:spPr bwMode="auto">
            <a:xfrm>
              <a:off x="5616575" y="4449763"/>
              <a:ext cx="193675" cy="323850"/>
            </a:xfrm>
            <a:custGeom>
              <a:avLst/>
              <a:gdLst>
                <a:gd name="T0" fmla="*/ 30 w 61"/>
                <a:gd name="T1" fmla="*/ 11 h 102"/>
                <a:gd name="T2" fmla="*/ 51 w 61"/>
                <a:gd name="T3" fmla="*/ 31 h 102"/>
                <a:gd name="T4" fmla="*/ 51 w 61"/>
                <a:gd name="T5" fmla="*/ 72 h 102"/>
                <a:gd name="T6" fmla="*/ 30 w 61"/>
                <a:gd name="T7" fmla="*/ 92 h 102"/>
                <a:gd name="T8" fmla="*/ 10 w 61"/>
                <a:gd name="T9" fmla="*/ 72 h 102"/>
                <a:gd name="T10" fmla="*/ 10 w 61"/>
                <a:gd name="T11" fmla="*/ 31 h 102"/>
                <a:gd name="T12" fmla="*/ 30 w 61"/>
                <a:gd name="T13" fmla="*/ 11 h 102"/>
                <a:gd name="T14" fmla="*/ 30 w 61"/>
                <a:gd name="T15" fmla="*/ 0 h 102"/>
                <a:gd name="T16" fmla="*/ 0 w 61"/>
                <a:gd name="T17" fmla="*/ 31 h 102"/>
                <a:gd name="T18" fmla="*/ 0 w 61"/>
                <a:gd name="T19" fmla="*/ 72 h 102"/>
                <a:gd name="T20" fmla="*/ 30 w 61"/>
                <a:gd name="T21" fmla="*/ 102 h 102"/>
                <a:gd name="T22" fmla="*/ 61 w 61"/>
                <a:gd name="T23" fmla="*/ 72 h 102"/>
                <a:gd name="T24" fmla="*/ 61 w 61"/>
                <a:gd name="T25" fmla="*/ 31 h 102"/>
                <a:gd name="T26" fmla="*/ 30 w 61"/>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2">
                  <a:moveTo>
                    <a:pt x="30" y="11"/>
                  </a:moveTo>
                  <a:cubicBezTo>
                    <a:pt x="42" y="11"/>
                    <a:pt x="51" y="20"/>
                    <a:pt x="51" y="31"/>
                  </a:cubicBezTo>
                  <a:cubicBezTo>
                    <a:pt x="51" y="72"/>
                    <a:pt x="51" y="72"/>
                    <a:pt x="51" y="72"/>
                  </a:cubicBezTo>
                  <a:cubicBezTo>
                    <a:pt x="51" y="83"/>
                    <a:pt x="42" y="92"/>
                    <a:pt x="30" y="92"/>
                  </a:cubicBezTo>
                  <a:cubicBezTo>
                    <a:pt x="19" y="92"/>
                    <a:pt x="10" y="83"/>
                    <a:pt x="10" y="72"/>
                  </a:cubicBezTo>
                  <a:cubicBezTo>
                    <a:pt x="10" y="31"/>
                    <a:pt x="10" y="31"/>
                    <a:pt x="10" y="31"/>
                  </a:cubicBezTo>
                  <a:cubicBezTo>
                    <a:pt x="10" y="20"/>
                    <a:pt x="19" y="11"/>
                    <a:pt x="30" y="11"/>
                  </a:cubicBezTo>
                  <a:moveTo>
                    <a:pt x="30" y="0"/>
                  </a:moveTo>
                  <a:cubicBezTo>
                    <a:pt x="14" y="0"/>
                    <a:pt x="0" y="14"/>
                    <a:pt x="0" y="31"/>
                  </a:cubicBezTo>
                  <a:cubicBezTo>
                    <a:pt x="0" y="72"/>
                    <a:pt x="0" y="72"/>
                    <a:pt x="0" y="72"/>
                  </a:cubicBezTo>
                  <a:cubicBezTo>
                    <a:pt x="0" y="89"/>
                    <a:pt x="14" y="102"/>
                    <a:pt x="30" y="102"/>
                  </a:cubicBezTo>
                  <a:cubicBezTo>
                    <a:pt x="47" y="102"/>
                    <a:pt x="61" y="89"/>
                    <a:pt x="61" y="72"/>
                  </a:cubicBezTo>
                  <a:cubicBezTo>
                    <a:pt x="61" y="31"/>
                    <a:pt x="61" y="31"/>
                    <a:pt x="61" y="31"/>
                  </a:cubicBezTo>
                  <a:cubicBezTo>
                    <a:pt x="61" y="14"/>
                    <a:pt x="47"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27"/>
            <p:cNvSpPr>
              <a:spLocks/>
            </p:cNvSpPr>
            <p:nvPr userDrawn="1"/>
          </p:nvSpPr>
          <p:spPr bwMode="auto">
            <a:xfrm>
              <a:off x="7558088" y="4433888"/>
              <a:ext cx="320675" cy="811213"/>
            </a:xfrm>
            <a:custGeom>
              <a:avLst/>
              <a:gdLst>
                <a:gd name="T0" fmla="*/ 50 w 101"/>
                <a:gd name="T1" fmla="*/ 255 h 255"/>
                <a:gd name="T2" fmla="*/ 50 w 101"/>
                <a:gd name="T3" fmla="*/ 255 h 255"/>
                <a:gd name="T4" fmla="*/ 0 w 101"/>
                <a:gd name="T5" fmla="*/ 204 h 255"/>
                <a:gd name="T6" fmla="*/ 0 w 101"/>
                <a:gd name="T7" fmla="*/ 51 h 255"/>
                <a:gd name="T8" fmla="*/ 50 w 101"/>
                <a:gd name="T9" fmla="*/ 0 h 255"/>
                <a:gd name="T10" fmla="*/ 101 w 101"/>
                <a:gd name="T11" fmla="*/ 51 h 255"/>
                <a:gd name="T12" fmla="*/ 101 w 101"/>
                <a:gd name="T13" fmla="*/ 204 h 255"/>
                <a:gd name="T14" fmla="*/ 50 w 101"/>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5">
                  <a:moveTo>
                    <a:pt x="50" y="255"/>
                  </a:moveTo>
                  <a:cubicBezTo>
                    <a:pt x="50" y="255"/>
                    <a:pt x="50" y="255"/>
                    <a:pt x="50" y="255"/>
                  </a:cubicBezTo>
                  <a:cubicBezTo>
                    <a:pt x="22" y="255"/>
                    <a:pt x="0" y="232"/>
                    <a:pt x="0" y="204"/>
                  </a:cubicBezTo>
                  <a:cubicBezTo>
                    <a:pt x="0" y="51"/>
                    <a:pt x="0" y="51"/>
                    <a:pt x="0" y="51"/>
                  </a:cubicBezTo>
                  <a:cubicBezTo>
                    <a:pt x="0" y="23"/>
                    <a:pt x="22" y="0"/>
                    <a:pt x="50" y="0"/>
                  </a:cubicBezTo>
                  <a:cubicBezTo>
                    <a:pt x="79" y="0"/>
                    <a:pt x="101" y="23"/>
                    <a:pt x="101" y="51"/>
                  </a:cubicBezTo>
                  <a:cubicBezTo>
                    <a:pt x="101" y="204"/>
                    <a:pt x="101" y="204"/>
                    <a:pt x="101" y="204"/>
                  </a:cubicBezTo>
                  <a:cubicBezTo>
                    <a:pt x="101" y="232"/>
                    <a:pt x="79" y="255"/>
                    <a:pt x="50"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8"/>
            <p:cNvSpPr>
              <a:spLocks/>
            </p:cNvSpPr>
            <p:nvPr userDrawn="1"/>
          </p:nvSpPr>
          <p:spPr bwMode="auto">
            <a:xfrm>
              <a:off x="6423025" y="3348038"/>
              <a:ext cx="406400" cy="1814513"/>
            </a:xfrm>
            <a:custGeom>
              <a:avLst/>
              <a:gdLst>
                <a:gd name="T0" fmla="*/ 64 w 128"/>
                <a:gd name="T1" fmla="*/ 570 h 570"/>
                <a:gd name="T2" fmla="*/ 64 w 128"/>
                <a:gd name="T3" fmla="*/ 570 h 570"/>
                <a:gd name="T4" fmla="*/ 0 w 128"/>
                <a:gd name="T5" fmla="*/ 507 h 570"/>
                <a:gd name="T6" fmla="*/ 0 w 128"/>
                <a:gd name="T7" fmla="*/ 64 h 570"/>
                <a:gd name="T8" fmla="*/ 64 w 128"/>
                <a:gd name="T9" fmla="*/ 0 h 570"/>
                <a:gd name="T10" fmla="*/ 128 w 128"/>
                <a:gd name="T11" fmla="*/ 64 h 570"/>
                <a:gd name="T12" fmla="*/ 128 w 128"/>
                <a:gd name="T13" fmla="*/ 507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2"/>
                    <a:pt x="0" y="507"/>
                  </a:cubicBezTo>
                  <a:cubicBezTo>
                    <a:pt x="0" y="64"/>
                    <a:pt x="0" y="64"/>
                    <a:pt x="0" y="64"/>
                  </a:cubicBezTo>
                  <a:cubicBezTo>
                    <a:pt x="0" y="29"/>
                    <a:pt x="29" y="0"/>
                    <a:pt x="64" y="0"/>
                  </a:cubicBezTo>
                  <a:cubicBezTo>
                    <a:pt x="99" y="0"/>
                    <a:pt x="128" y="29"/>
                    <a:pt x="128" y="64"/>
                  </a:cubicBezTo>
                  <a:cubicBezTo>
                    <a:pt x="128" y="507"/>
                    <a:pt x="128" y="507"/>
                    <a:pt x="128" y="507"/>
                  </a:cubicBezTo>
                  <a:cubicBezTo>
                    <a:pt x="128" y="542"/>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9"/>
            <p:cNvSpPr>
              <a:spLocks/>
            </p:cNvSpPr>
            <p:nvPr userDrawn="1"/>
          </p:nvSpPr>
          <p:spPr bwMode="auto">
            <a:xfrm>
              <a:off x="6992938" y="4060825"/>
              <a:ext cx="403225" cy="1816100"/>
            </a:xfrm>
            <a:custGeom>
              <a:avLst/>
              <a:gdLst>
                <a:gd name="T0" fmla="*/ 63 w 127"/>
                <a:gd name="T1" fmla="*/ 570 h 570"/>
                <a:gd name="T2" fmla="*/ 63 w 127"/>
                <a:gd name="T3" fmla="*/ 570 h 570"/>
                <a:gd name="T4" fmla="*/ 0 w 127"/>
                <a:gd name="T5" fmla="*/ 507 h 570"/>
                <a:gd name="T6" fmla="*/ 0 w 127"/>
                <a:gd name="T7" fmla="*/ 64 h 570"/>
                <a:gd name="T8" fmla="*/ 63 w 127"/>
                <a:gd name="T9" fmla="*/ 0 h 570"/>
                <a:gd name="T10" fmla="*/ 127 w 127"/>
                <a:gd name="T11" fmla="*/ 64 h 570"/>
                <a:gd name="T12" fmla="*/ 127 w 127"/>
                <a:gd name="T13" fmla="*/ 507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2"/>
                    <a:pt x="0" y="507"/>
                  </a:cubicBezTo>
                  <a:cubicBezTo>
                    <a:pt x="0" y="64"/>
                    <a:pt x="0" y="64"/>
                    <a:pt x="0" y="64"/>
                  </a:cubicBezTo>
                  <a:cubicBezTo>
                    <a:pt x="0" y="29"/>
                    <a:pt x="28" y="0"/>
                    <a:pt x="63" y="0"/>
                  </a:cubicBezTo>
                  <a:cubicBezTo>
                    <a:pt x="98" y="0"/>
                    <a:pt x="127" y="29"/>
                    <a:pt x="127" y="64"/>
                  </a:cubicBezTo>
                  <a:cubicBezTo>
                    <a:pt x="127" y="507"/>
                    <a:pt x="127" y="507"/>
                    <a:pt x="127" y="507"/>
                  </a:cubicBezTo>
                  <a:cubicBezTo>
                    <a:pt x="127" y="542"/>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30"/>
            <p:cNvSpPr>
              <a:spLocks/>
            </p:cNvSpPr>
            <p:nvPr userDrawn="1"/>
          </p:nvSpPr>
          <p:spPr bwMode="auto">
            <a:xfrm>
              <a:off x="5438775" y="4627563"/>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31"/>
            <p:cNvSpPr>
              <a:spLocks/>
            </p:cNvSpPr>
            <p:nvPr userDrawn="1"/>
          </p:nvSpPr>
          <p:spPr bwMode="auto">
            <a:xfrm>
              <a:off x="4872038" y="3981450"/>
              <a:ext cx="403225" cy="1814513"/>
            </a:xfrm>
            <a:custGeom>
              <a:avLst/>
              <a:gdLst>
                <a:gd name="T0" fmla="*/ 64 w 127"/>
                <a:gd name="T1" fmla="*/ 570 h 570"/>
                <a:gd name="T2" fmla="*/ 64 w 127"/>
                <a:gd name="T3" fmla="*/ 570 h 570"/>
                <a:gd name="T4" fmla="*/ 0 w 127"/>
                <a:gd name="T5" fmla="*/ 506 h 570"/>
                <a:gd name="T6" fmla="*/ 0 w 127"/>
                <a:gd name="T7" fmla="*/ 63 h 570"/>
                <a:gd name="T8" fmla="*/ 64 w 127"/>
                <a:gd name="T9" fmla="*/ 0 h 570"/>
                <a:gd name="T10" fmla="*/ 127 w 127"/>
                <a:gd name="T11" fmla="*/ 63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3"/>
                    <a:pt x="0" y="63"/>
                    <a:pt x="0" y="63"/>
                  </a:cubicBezTo>
                  <a:cubicBezTo>
                    <a:pt x="0" y="28"/>
                    <a:pt x="29" y="0"/>
                    <a:pt x="64" y="0"/>
                  </a:cubicBezTo>
                  <a:cubicBezTo>
                    <a:pt x="99" y="0"/>
                    <a:pt x="127" y="28"/>
                    <a:pt x="127" y="63"/>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32"/>
            <p:cNvSpPr>
              <a:spLocks/>
            </p:cNvSpPr>
            <p:nvPr userDrawn="1"/>
          </p:nvSpPr>
          <p:spPr bwMode="auto">
            <a:xfrm>
              <a:off x="0" y="4095750"/>
              <a:ext cx="152400" cy="809625"/>
            </a:xfrm>
            <a:custGeom>
              <a:avLst/>
              <a:gdLst>
                <a:gd name="T0" fmla="*/ 0 w 48"/>
                <a:gd name="T1" fmla="*/ 0 h 254"/>
                <a:gd name="T2" fmla="*/ 0 w 48"/>
                <a:gd name="T3" fmla="*/ 254 h 254"/>
                <a:gd name="T4" fmla="*/ 48 w 48"/>
                <a:gd name="T5" fmla="*/ 203 h 254"/>
                <a:gd name="T6" fmla="*/ 48 w 48"/>
                <a:gd name="T7" fmla="*/ 50 h 254"/>
                <a:gd name="T8" fmla="*/ 0 w 48"/>
                <a:gd name="T9" fmla="*/ 0 h 254"/>
              </a:gdLst>
              <a:ahLst/>
              <a:cxnLst>
                <a:cxn ang="0">
                  <a:pos x="T0" y="T1"/>
                </a:cxn>
                <a:cxn ang="0">
                  <a:pos x="T2" y="T3"/>
                </a:cxn>
                <a:cxn ang="0">
                  <a:pos x="T4" y="T5"/>
                </a:cxn>
                <a:cxn ang="0">
                  <a:pos x="T6" y="T7"/>
                </a:cxn>
                <a:cxn ang="0">
                  <a:pos x="T8" y="T9"/>
                </a:cxn>
              </a:cxnLst>
              <a:rect l="0" t="0" r="r" b="b"/>
              <a:pathLst>
                <a:path w="48" h="254">
                  <a:moveTo>
                    <a:pt x="0" y="0"/>
                  </a:moveTo>
                  <a:cubicBezTo>
                    <a:pt x="0" y="254"/>
                    <a:pt x="0" y="254"/>
                    <a:pt x="0" y="254"/>
                  </a:cubicBezTo>
                  <a:cubicBezTo>
                    <a:pt x="27" y="252"/>
                    <a:pt x="48" y="230"/>
                    <a:pt x="48" y="203"/>
                  </a:cubicBezTo>
                  <a:cubicBezTo>
                    <a:pt x="48" y="50"/>
                    <a:pt x="48" y="50"/>
                    <a:pt x="48" y="50"/>
                  </a:cubicBezTo>
                  <a:cubicBezTo>
                    <a:pt x="48" y="23"/>
                    <a:pt x="2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3"/>
            <p:cNvSpPr>
              <a:spLocks/>
            </p:cNvSpPr>
            <p:nvPr userDrawn="1"/>
          </p:nvSpPr>
          <p:spPr bwMode="auto">
            <a:xfrm>
              <a:off x="12052300" y="4548188"/>
              <a:ext cx="152400" cy="809625"/>
            </a:xfrm>
            <a:custGeom>
              <a:avLst/>
              <a:gdLst>
                <a:gd name="T0" fmla="*/ 48 w 48"/>
                <a:gd name="T1" fmla="*/ 0 h 254"/>
                <a:gd name="T2" fmla="*/ 0 w 48"/>
                <a:gd name="T3" fmla="*/ 51 h 254"/>
                <a:gd name="T4" fmla="*/ 0 w 48"/>
                <a:gd name="T5" fmla="*/ 203 h 254"/>
                <a:gd name="T6" fmla="*/ 48 w 48"/>
                <a:gd name="T7" fmla="*/ 254 h 254"/>
                <a:gd name="T8" fmla="*/ 48 w 48"/>
                <a:gd name="T9" fmla="*/ 0 h 254"/>
              </a:gdLst>
              <a:ahLst/>
              <a:cxnLst>
                <a:cxn ang="0">
                  <a:pos x="T0" y="T1"/>
                </a:cxn>
                <a:cxn ang="0">
                  <a:pos x="T2" y="T3"/>
                </a:cxn>
                <a:cxn ang="0">
                  <a:pos x="T4" y="T5"/>
                </a:cxn>
                <a:cxn ang="0">
                  <a:pos x="T6" y="T7"/>
                </a:cxn>
                <a:cxn ang="0">
                  <a:pos x="T8" y="T9"/>
                </a:cxn>
              </a:cxnLst>
              <a:rect l="0" t="0" r="r" b="b"/>
              <a:pathLst>
                <a:path w="48" h="254">
                  <a:moveTo>
                    <a:pt x="48" y="0"/>
                  </a:moveTo>
                  <a:cubicBezTo>
                    <a:pt x="20" y="2"/>
                    <a:pt x="0" y="24"/>
                    <a:pt x="0" y="51"/>
                  </a:cubicBezTo>
                  <a:cubicBezTo>
                    <a:pt x="0" y="203"/>
                    <a:pt x="0" y="203"/>
                    <a:pt x="0" y="203"/>
                  </a:cubicBezTo>
                  <a:cubicBezTo>
                    <a:pt x="0" y="231"/>
                    <a:pt x="20" y="253"/>
                    <a:pt x="48" y="254"/>
                  </a:cubicBez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 name="Logotype, static"/>
          <p:cNvGrpSpPr/>
          <p:nvPr userDrawn="1"/>
        </p:nvGrpSpPr>
        <p:grpSpPr>
          <a:xfrm>
            <a:off x="10689465" y="6389301"/>
            <a:ext cx="863687" cy="180102"/>
            <a:chOff x="9501453" y="6148765"/>
            <a:chExt cx="2047875" cy="427037"/>
          </a:xfrm>
          <a:solidFill>
            <a:schemeClr val="bg1"/>
          </a:solidFill>
        </p:grpSpPr>
        <p:sp>
          <p:nvSpPr>
            <p:cNvPr id="3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7356290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bg1"/>
        </a:solidFill>
        <a:effectLst/>
      </p:bgPr>
    </p:bg>
    <p:spTree>
      <p:nvGrpSpPr>
        <p:cNvPr id="1" name=""/>
        <p:cNvGrpSpPr/>
        <p:nvPr/>
      </p:nvGrpSpPr>
      <p:grpSpPr>
        <a:xfrm>
          <a:off x="0" y="0"/>
          <a:ext cx="0" cy="0"/>
          <a:chOff x="0" y="0"/>
          <a:chExt cx="0" cy="0"/>
        </a:xfrm>
      </p:grpSpPr>
      <p:grpSp>
        <p:nvGrpSpPr>
          <p:cNvPr id="37" name="Pulse"/>
          <p:cNvGrpSpPr/>
          <p:nvPr userDrawn="1"/>
        </p:nvGrpSpPr>
        <p:grpSpPr>
          <a:xfrm>
            <a:off x="8751888" y="3030538"/>
            <a:ext cx="3446462" cy="3490913"/>
            <a:chOff x="8751888" y="3030538"/>
            <a:chExt cx="3446462" cy="3490913"/>
          </a:xfrm>
          <a:solidFill>
            <a:schemeClr val="accent1"/>
          </a:solidFill>
        </p:grpSpPr>
        <p:sp>
          <p:nvSpPr>
            <p:cNvPr id="38"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ctrTitle"/>
          </p:nvPr>
        </p:nvSpPr>
        <p:spPr>
          <a:xfrm>
            <a:off x="648000" y="1338264"/>
            <a:ext cx="7200000" cy="795474"/>
          </a:xfrm>
        </p:spPr>
        <p:txBody>
          <a:bodyPr/>
          <a:lstStyle>
            <a:lvl1pPr>
              <a:defRPr sz="29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p>
        </p:txBody>
      </p:sp>
      <p:grpSp>
        <p:nvGrpSpPr>
          <p:cNvPr id="30" name="Logotype"/>
          <p:cNvGrpSpPr/>
          <p:nvPr userDrawn="1"/>
        </p:nvGrpSpPr>
        <p:grpSpPr>
          <a:xfrm>
            <a:off x="640800" y="532800"/>
            <a:ext cx="1384039" cy="288609"/>
            <a:chOff x="9501453" y="6148765"/>
            <a:chExt cx="2047875" cy="427037"/>
          </a:xfrm>
          <a:solidFill>
            <a:schemeClr val="bg2"/>
          </a:solidFill>
        </p:grpSpPr>
        <p:sp>
          <p:nvSpPr>
            <p:cNvPr id="31"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582648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Nordea Blue">
    <p:bg>
      <p:bgPr>
        <a:solidFill>
          <a:srgbClr val="0000A0"/>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8262"/>
            <a:ext cx="5436000" cy="2472849"/>
          </a:xfrm>
        </p:spPr>
        <p:txBody>
          <a:bodyPr>
            <a:noAutofit/>
          </a:bodyPr>
          <a:lstStyle>
            <a:lvl1pPr>
              <a:defRPr sz="4000">
                <a:solidFill>
                  <a:srgbClr val="FBD9CA"/>
                </a:solidFill>
              </a:defRPr>
            </a:lvl1pPr>
          </a:lstStyle>
          <a:p>
            <a:r>
              <a:rPr lang="en-GB"/>
              <a:t>Click to edit Master title style</a:t>
            </a:r>
            <a:endParaRPr lang="en-GB" dirty="0"/>
          </a:p>
        </p:txBody>
      </p:sp>
      <p:sp>
        <p:nvSpPr>
          <p:cNvPr id="3" name="Subtitle 2"/>
          <p:cNvSpPr>
            <a:spLocks noGrp="1"/>
          </p:cNvSpPr>
          <p:nvPr>
            <p:ph type="subTitle" idx="1"/>
          </p:nvPr>
        </p:nvSpPr>
        <p:spPr>
          <a:xfrm>
            <a:off x="648000" y="4296176"/>
            <a:ext cx="5436000" cy="360083"/>
          </a:xfrm>
        </p:spPr>
        <p:txBody>
          <a:bodyPr>
            <a:noAutofit/>
          </a:bodyPr>
          <a:lstStyle>
            <a:lvl1pPr marL="0" indent="0" algn="l">
              <a:buNone/>
              <a:defRPr sz="1800" b="1">
                <a:solidFill>
                  <a:srgbClr val="FFFFFF"/>
                </a:solidFill>
                <a:latin typeface="+mj-lt"/>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21" name="Text Placeholder 20"/>
          <p:cNvSpPr>
            <a:spLocks noGrp="1"/>
          </p:cNvSpPr>
          <p:nvPr>
            <p:ph type="body" sz="quarter" idx="13" hasCustomPrompt="1"/>
          </p:nvPr>
        </p:nvSpPr>
        <p:spPr>
          <a:xfrm>
            <a:off x="648000" y="4774548"/>
            <a:ext cx="5436000" cy="216000"/>
          </a:xfrm>
        </p:spPr>
        <p:txBody>
          <a:bodyPr>
            <a:noAutofit/>
          </a:bodyPr>
          <a:lstStyle>
            <a:lvl1pPr marL="0" indent="0">
              <a:buNone/>
              <a:defRPr sz="14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endParaRPr lang="en-GB" dirty="0"/>
          </a:p>
        </p:txBody>
      </p:sp>
      <p:sp>
        <p:nvSpPr>
          <p:cNvPr id="22" name="Text Placeholder 20"/>
          <p:cNvSpPr>
            <a:spLocks noGrp="1"/>
          </p:cNvSpPr>
          <p:nvPr>
            <p:ph type="body" sz="quarter" idx="14" hasCustomPrompt="1"/>
          </p:nvPr>
        </p:nvSpPr>
        <p:spPr>
          <a:xfrm>
            <a:off x="648000" y="5026548"/>
            <a:ext cx="5436000" cy="216000"/>
          </a:xfrm>
        </p:spPr>
        <p:txBody>
          <a:bodyPr>
            <a:noAutofit/>
          </a:bodyPr>
          <a:lstStyle>
            <a:lvl1pPr marL="0" indent="0">
              <a:buNone/>
              <a:defRPr sz="14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endParaRPr lang="en-GB" dirty="0"/>
          </a:p>
        </p:txBody>
      </p:sp>
      <p:grpSp>
        <p:nvGrpSpPr>
          <p:cNvPr id="17" name="Pulse"/>
          <p:cNvGrpSpPr/>
          <p:nvPr userDrawn="1"/>
        </p:nvGrpSpPr>
        <p:grpSpPr>
          <a:xfrm>
            <a:off x="6964846" y="941098"/>
            <a:ext cx="5232032" cy="52995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Logotype">
            <a:extLst>
              <a:ext uri="{FF2B5EF4-FFF2-40B4-BE49-F238E27FC236}">
                <a16:creationId xmlns:a16="http://schemas.microsoft.com/office/drawing/2014/main" id="{6A1547BB-290B-9302-EA1B-3A107CE0112D}"/>
              </a:ext>
            </a:extLst>
          </p:cNvPr>
          <p:cNvSpPr>
            <a:spLocks noChangeAspect="1"/>
          </p:cNvSpPr>
          <p:nvPr userDrawn="1"/>
        </p:nvSpPr>
        <p:spPr>
          <a:xfrm>
            <a:off x="641350" y="530890"/>
            <a:ext cx="1386000" cy="288857"/>
          </a:xfrm>
          <a:custGeom>
            <a:avLst/>
            <a:gdLst>
              <a:gd name="connsiteX0" fmla="*/ 1189292 w 1295686"/>
              <a:gd name="connsiteY0" fmla="*/ 102299 h 270035"/>
              <a:gd name="connsiteX1" fmla="*/ 1128522 w 1295686"/>
              <a:gd name="connsiteY1" fmla="*/ 170593 h 270035"/>
              <a:gd name="connsiteX2" fmla="*/ 1181576 w 1295686"/>
              <a:gd name="connsiteY2" fmla="*/ 224219 h 270035"/>
              <a:gd name="connsiteX3" fmla="*/ 1250537 w 1295686"/>
              <a:gd name="connsiteY3" fmla="*/ 166688 h 270035"/>
              <a:gd name="connsiteX4" fmla="*/ 1250442 w 1295686"/>
              <a:gd name="connsiteY4" fmla="*/ 166688 h 270035"/>
              <a:gd name="connsiteX5" fmla="*/ 1250442 w 1295686"/>
              <a:gd name="connsiteY5" fmla="*/ 160306 h 270035"/>
              <a:gd name="connsiteX6" fmla="*/ 1189292 w 1295686"/>
              <a:gd name="connsiteY6" fmla="*/ 102299 h 270035"/>
              <a:gd name="connsiteX7" fmla="*/ 717519 w 1295686"/>
              <a:gd name="connsiteY7" fmla="*/ 102299 h 270035"/>
              <a:gd name="connsiteX8" fmla="*/ 656749 w 1295686"/>
              <a:gd name="connsiteY8" fmla="*/ 170593 h 270035"/>
              <a:gd name="connsiteX9" fmla="*/ 709803 w 1295686"/>
              <a:gd name="connsiteY9" fmla="*/ 224218 h 270035"/>
              <a:gd name="connsiteX10" fmla="*/ 778764 w 1295686"/>
              <a:gd name="connsiteY10" fmla="*/ 166687 h 270035"/>
              <a:gd name="connsiteX11" fmla="*/ 778669 w 1295686"/>
              <a:gd name="connsiteY11" fmla="*/ 166687 h 270035"/>
              <a:gd name="connsiteX12" fmla="*/ 778669 w 1295686"/>
              <a:gd name="connsiteY12" fmla="*/ 160306 h 270035"/>
              <a:gd name="connsiteX13" fmla="*/ 717519 w 1295686"/>
              <a:gd name="connsiteY13" fmla="*/ 102299 h 270035"/>
              <a:gd name="connsiteX14" fmla="*/ 366808 w 1295686"/>
              <a:gd name="connsiteY14" fmla="*/ 102299 h 270035"/>
              <a:gd name="connsiteX15" fmla="*/ 305657 w 1295686"/>
              <a:gd name="connsiteY15" fmla="*/ 163449 h 270035"/>
              <a:gd name="connsiteX16" fmla="*/ 366808 w 1295686"/>
              <a:gd name="connsiteY16" fmla="*/ 224600 h 270035"/>
              <a:gd name="connsiteX17" fmla="*/ 427958 w 1295686"/>
              <a:gd name="connsiteY17" fmla="*/ 163449 h 270035"/>
              <a:gd name="connsiteX18" fmla="*/ 366808 w 1295686"/>
              <a:gd name="connsiteY18" fmla="*/ 102299 h 270035"/>
              <a:gd name="connsiteX19" fmla="*/ 962039 w 1295686"/>
              <a:gd name="connsiteY19" fmla="*/ 96385 h 270035"/>
              <a:gd name="connsiteX20" fmla="*/ 938499 w 1295686"/>
              <a:gd name="connsiteY20" fmla="*/ 100585 h 270035"/>
              <a:gd name="connsiteX21" fmla="*/ 896779 w 1295686"/>
              <a:gd name="connsiteY21" fmla="*/ 159068 h 270035"/>
              <a:gd name="connsiteX22" fmla="*/ 896779 w 1295686"/>
              <a:gd name="connsiteY22" fmla="*/ 159164 h 270035"/>
              <a:gd name="connsiteX23" fmla="*/ 1011746 w 1295686"/>
              <a:gd name="connsiteY23" fmla="*/ 127541 h 270035"/>
              <a:gd name="connsiteX24" fmla="*/ 962039 w 1295686"/>
              <a:gd name="connsiteY24" fmla="*/ 96385 h 270035"/>
              <a:gd name="connsiteX25" fmla="*/ 1181005 w 1295686"/>
              <a:gd name="connsiteY25" fmla="*/ 57436 h 270035"/>
              <a:gd name="connsiteX26" fmla="*/ 1295686 w 1295686"/>
              <a:gd name="connsiteY26" fmla="*/ 165354 h 270035"/>
              <a:gd name="connsiteX27" fmla="*/ 1295686 w 1295686"/>
              <a:gd name="connsiteY27" fmla="*/ 266700 h 270035"/>
              <a:gd name="connsiteX28" fmla="*/ 1254538 w 1295686"/>
              <a:gd name="connsiteY28" fmla="*/ 266700 h 270035"/>
              <a:gd name="connsiteX29" fmla="*/ 1254538 w 1295686"/>
              <a:gd name="connsiteY29" fmla="*/ 235458 h 270035"/>
              <a:gd name="connsiteX30" fmla="*/ 1189292 w 1295686"/>
              <a:gd name="connsiteY30" fmla="*/ 269558 h 270035"/>
              <a:gd name="connsiteX31" fmla="*/ 1083278 w 1295686"/>
              <a:gd name="connsiteY31" fmla="*/ 156591 h 270035"/>
              <a:gd name="connsiteX32" fmla="*/ 1181005 w 1295686"/>
              <a:gd name="connsiteY32" fmla="*/ 57531 h 270035"/>
              <a:gd name="connsiteX33" fmla="*/ 956311 w 1295686"/>
              <a:gd name="connsiteY33" fmla="*/ 57246 h 270035"/>
              <a:gd name="connsiteX34" fmla="*/ 956311 w 1295686"/>
              <a:gd name="connsiteY34" fmla="*/ 57341 h 270035"/>
              <a:gd name="connsiteX35" fmla="*/ 1064134 w 1295686"/>
              <a:gd name="connsiteY35" fmla="*/ 151924 h 270035"/>
              <a:gd name="connsiteX36" fmla="*/ 904876 w 1295686"/>
              <a:gd name="connsiteY36" fmla="*/ 195359 h 270035"/>
              <a:gd name="connsiteX37" fmla="*/ 970503 w 1295686"/>
              <a:gd name="connsiteY37" fmla="*/ 227172 h 270035"/>
              <a:gd name="connsiteX38" fmla="*/ 1016413 w 1295686"/>
              <a:gd name="connsiteY38" fmla="*/ 191930 h 270035"/>
              <a:gd name="connsiteX39" fmla="*/ 1057371 w 1295686"/>
              <a:gd name="connsiteY39" fmla="*/ 204121 h 270035"/>
              <a:gd name="connsiteX40" fmla="*/ 958787 w 1295686"/>
              <a:gd name="connsiteY40" fmla="*/ 270035 h 270035"/>
              <a:gd name="connsiteX41" fmla="*/ 852488 w 1295686"/>
              <a:gd name="connsiteY41" fmla="*/ 164593 h 270035"/>
              <a:gd name="connsiteX42" fmla="*/ 956311 w 1295686"/>
              <a:gd name="connsiteY42" fmla="*/ 57246 h 270035"/>
              <a:gd name="connsiteX43" fmla="*/ 366903 w 1295686"/>
              <a:gd name="connsiteY43" fmla="*/ 57055 h 270035"/>
              <a:gd name="connsiteX44" fmla="*/ 473298 w 1295686"/>
              <a:gd name="connsiteY44" fmla="*/ 163449 h 270035"/>
              <a:gd name="connsiteX45" fmla="*/ 366903 w 1295686"/>
              <a:gd name="connsiteY45" fmla="*/ 269844 h 270035"/>
              <a:gd name="connsiteX46" fmla="*/ 260509 w 1295686"/>
              <a:gd name="connsiteY46" fmla="*/ 163449 h 270035"/>
              <a:gd name="connsiteX47" fmla="*/ 366903 w 1295686"/>
              <a:gd name="connsiteY47" fmla="*/ 57055 h 270035"/>
              <a:gd name="connsiteX48" fmla="*/ 605885 w 1295686"/>
              <a:gd name="connsiteY48" fmla="*/ 56769 h 270035"/>
              <a:gd name="connsiteX49" fmla="*/ 605885 w 1295686"/>
              <a:gd name="connsiteY49" fmla="*/ 100393 h 270035"/>
              <a:gd name="connsiteX50" fmla="*/ 605981 w 1295686"/>
              <a:gd name="connsiteY50" fmla="*/ 100393 h 270035"/>
              <a:gd name="connsiteX51" fmla="*/ 547307 w 1295686"/>
              <a:gd name="connsiteY51" fmla="*/ 167164 h 270035"/>
              <a:gd name="connsiteX52" fmla="*/ 547402 w 1295686"/>
              <a:gd name="connsiteY52" fmla="*/ 266795 h 270035"/>
              <a:gd name="connsiteX53" fmla="*/ 500920 w 1295686"/>
              <a:gd name="connsiteY53" fmla="*/ 266795 h 270035"/>
              <a:gd name="connsiteX54" fmla="*/ 500920 w 1295686"/>
              <a:gd name="connsiteY54" fmla="*/ 63722 h 270035"/>
              <a:gd name="connsiteX55" fmla="*/ 546164 w 1295686"/>
              <a:gd name="connsiteY55" fmla="*/ 63722 h 270035"/>
              <a:gd name="connsiteX56" fmla="*/ 546164 w 1295686"/>
              <a:gd name="connsiteY56" fmla="*/ 87154 h 270035"/>
              <a:gd name="connsiteX57" fmla="*/ 605885 w 1295686"/>
              <a:gd name="connsiteY57" fmla="*/ 56769 h 270035"/>
              <a:gd name="connsiteX58" fmla="*/ 0 w 1295686"/>
              <a:gd name="connsiteY58" fmla="*/ 21622 h 270035"/>
              <a:gd name="connsiteX59" fmla="*/ 47339 w 1295686"/>
              <a:gd name="connsiteY59" fmla="*/ 21622 h 270035"/>
              <a:gd name="connsiteX60" fmla="*/ 186214 w 1295686"/>
              <a:gd name="connsiteY60" fmla="*/ 185166 h 270035"/>
              <a:gd name="connsiteX61" fmla="*/ 186214 w 1295686"/>
              <a:gd name="connsiteY61" fmla="*/ 21622 h 270035"/>
              <a:gd name="connsiteX62" fmla="*/ 233077 w 1295686"/>
              <a:gd name="connsiteY62" fmla="*/ 21622 h 270035"/>
              <a:gd name="connsiteX63" fmla="*/ 232982 w 1295686"/>
              <a:gd name="connsiteY63" fmla="*/ 266700 h 270035"/>
              <a:gd name="connsiteX64" fmla="*/ 189548 w 1295686"/>
              <a:gd name="connsiteY64" fmla="*/ 266700 h 270035"/>
              <a:gd name="connsiteX65" fmla="*/ 48959 w 1295686"/>
              <a:gd name="connsiteY65" fmla="*/ 102680 h 270035"/>
              <a:gd name="connsiteX66" fmla="*/ 48959 w 1295686"/>
              <a:gd name="connsiteY66" fmla="*/ 266414 h 270035"/>
              <a:gd name="connsiteX67" fmla="*/ 0 w 1295686"/>
              <a:gd name="connsiteY67" fmla="*/ 266414 h 270035"/>
              <a:gd name="connsiteX68" fmla="*/ 780098 w 1295686"/>
              <a:gd name="connsiteY68" fmla="*/ 0 h 270035"/>
              <a:gd name="connsiteX69" fmla="*/ 823722 w 1295686"/>
              <a:gd name="connsiteY69" fmla="*/ 0 h 270035"/>
              <a:gd name="connsiteX70" fmla="*/ 823722 w 1295686"/>
              <a:gd name="connsiteY70" fmla="*/ 161449 h 270035"/>
              <a:gd name="connsiteX71" fmla="*/ 823722 w 1295686"/>
              <a:gd name="connsiteY71" fmla="*/ 163449 h 270035"/>
              <a:gd name="connsiteX72" fmla="*/ 823722 w 1295686"/>
              <a:gd name="connsiteY72" fmla="*/ 165449 h 270035"/>
              <a:gd name="connsiteX73" fmla="*/ 823722 w 1295686"/>
              <a:gd name="connsiteY73" fmla="*/ 266795 h 270035"/>
              <a:gd name="connsiteX74" fmla="*/ 782765 w 1295686"/>
              <a:gd name="connsiteY74" fmla="*/ 266795 h 270035"/>
              <a:gd name="connsiteX75" fmla="*/ 782765 w 1295686"/>
              <a:gd name="connsiteY75" fmla="*/ 239649 h 270035"/>
              <a:gd name="connsiteX76" fmla="*/ 717519 w 1295686"/>
              <a:gd name="connsiteY76" fmla="*/ 269748 h 270035"/>
              <a:gd name="connsiteX77" fmla="*/ 611505 w 1295686"/>
              <a:gd name="connsiteY77" fmla="*/ 156591 h 270035"/>
              <a:gd name="connsiteX78" fmla="*/ 709232 w 1295686"/>
              <a:gd name="connsiteY78" fmla="*/ 57531 h 270035"/>
              <a:gd name="connsiteX79" fmla="*/ 780098 w 1295686"/>
              <a:gd name="connsiteY79" fmla="*/ 79819 h 27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95686" h="270035">
                <a:moveTo>
                  <a:pt x="1189292" y="102299"/>
                </a:moveTo>
                <a:cubicBezTo>
                  <a:pt x="1153192" y="102299"/>
                  <a:pt x="1124426" y="133636"/>
                  <a:pt x="1128522" y="170593"/>
                </a:cubicBezTo>
                <a:cubicBezTo>
                  <a:pt x="1131665" y="198215"/>
                  <a:pt x="1153859" y="220790"/>
                  <a:pt x="1181576" y="224219"/>
                </a:cubicBezTo>
                <a:cubicBezTo>
                  <a:pt x="1217771" y="228695"/>
                  <a:pt x="1248728" y="201549"/>
                  <a:pt x="1250537" y="166688"/>
                </a:cubicBezTo>
                <a:lnTo>
                  <a:pt x="1250442" y="166688"/>
                </a:lnTo>
                <a:lnTo>
                  <a:pt x="1250442" y="160306"/>
                </a:lnTo>
                <a:cubicBezTo>
                  <a:pt x="1248728" y="128016"/>
                  <a:pt x="1222058" y="102299"/>
                  <a:pt x="1189292" y="102299"/>
                </a:cubicBezTo>
                <a:close/>
                <a:moveTo>
                  <a:pt x="717519" y="102299"/>
                </a:moveTo>
                <a:cubicBezTo>
                  <a:pt x="681419" y="102299"/>
                  <a:pt x="652653" y="133636"/>
                  <a:pt x="656749" y="170593"/>
                </a:cubicBezTo>
                <a:cubicBezTo>
                  <a:pt x="659892" y="198215"/>
                  <a:pt x="682086" y="220789"/>
                  <a:pt x="709803" y="224218"/>
                </a:cubicBezTo>
                <a:cubicBezTo>
                  <a:pt x="745998" y="228695"/>
                  <a:pt x="776955" y="201549"/>
                  <a:pt x="778764" y="166687"/>
                </a:cubicBezTo>
                <a:lnTo>
                  <a:pt x="778669" y="166687"/>
                </a:lnTo>
                <a:lnTo>
                  <a:pt x="778669" y="160306"/>
                </a:lnTo>
                <a:cubicBezTo>
                  <a:pt x="776955" y="128016"/>
                  <a:pt x="750285" y="102299"/>
                  <a:pt x="717519" y="102299"/>
                </a:cubicBezTo>
                <a:close/>
                <a:moveTo>
                  <a:pt x="366808" y="102299"/>
                </a:moveTo>
                <a:cubicBezTo>
                  <a:pt x="333089" y="102299"/>
                  <a:pt x="305657" y="129731"/>
                  <a:pt x="305657" y="163449"/>
                </a:cubicBezTo>
                <a:cubicBezTo>
                  <a:pt x="305657" y="197168"/>
                  <a:pt x="332994" y="224600"/>
                  <a:pt x="366808" y="224600"/>
                </a:cubicBezTo>
                <a:cubicBezTo>
                  <a:pt x="400527" y="224600"/>
                  <a:pt x="427958" y="197168"/>
                  <a:pt x="427958" y="163449"/>
                </a:cubicBezTo>
                <a:cubicBezTo>
                  <a:pt x="427958" y="129731"/>
                  <a:pt x="400527" y="102299"/>
                  <a:pt x="366808" y="102299"/>
                </a:cubicBezTo>
                <a:close/>
                <a:moveTo>
                  <a:pt x="962039" y="96385"/>
                </a:moveTo>
                <a:cubicBezTo>
                  <a:pt x="954578" y="96227"/>
                  <a:pt x="946666" y="97513"/>
                  <a:pt x="938499" y="100585"/>
                </a:cubicBezTo>
                <a:cubicBezTo>
                  <a:pt x="909733" y="111348"/>
                  <a:pt x="896779" y="136875"/>
                  <a:pt x="896779" y="159068"/>
                </a:cubicBezTo>
                <a:lnTo>
                  <a:pt x="896779" y="159164"/>
                </a:lnTo>
                <a:lnTo>
                  <a:pt x="1011746" y="127541"/>
                </a:lnTo>
                <a:cubicBezTo>
                  <a:pt x="1002744" y="110324"/>
                  <a:pt x="984421" y="96858"/>
                  <a:pt x="962039" y="96385"/>
                </a:cubicBezTo>
                <a:close/>
                <a:moveTo>
                  <a:pt x="1181005" y="57436"/>
                </a:moveTo>
                <a:cubicBezTo>
                  <a:pt x="1242060" y="52673"/>
                  <a:pt x="1295686" y="99346"/>
                  <a:pt x="1295686" y="165354"/>
                </a:cubicBezTo>
                <a:lnTo>
                  <a:pt x="1295686" y="266700"/>
                </a:lnTo>
                <a:lnTo>
                  <a:pt x="1254538" y="266700"/>
                </a:lnTo>
                <a:lnTo>
                  <a:pt x="1254538" y="235458"/>
                </a:lnTo>
                <a:cubicBezTo>
                  <a:pt x="1241108" y="258604"/>
                  <a:pt x="1211295" y="269558"/>
                  <a:pt x="1189292" y="269558"/>
                </a:cubicBezTo>
                <a:cubicBezTo>
                  <a:pt x="1128332" y="269558"/>
                  <a:pt x="1079373" y="218408"/>
                  <a:pt x="1083278" y="156591"/>
                </a:cubicBezTo>
                <a:cubicBezTo>
                  <a:pt x="1086612" y="104299"/>
                  <a:pt x="1128236" y="61627"/>
                  <a:pt x="1181005" y="57531"/>
                </a:cubicBezTo>
                <a:close/>
                <a:moveTo>
                  <a:pt x="956311" y="57246"/>
                </a:moveTo>
                <a:lnTo>
                  <a:pt x="956311" y="57341"/>
                </a:lnTo>
                <a:cubicBezTo>
                  <a:pt x="1023557" y="55436"/>
                  <a:pt x="1059466" y="111062"/>
                  <a:pt x="1064134" y="151924"/>
                </a:cubicBezTo>
                <a:lnTo>
                  <a:pt x="904876" y="195359"/>
                </a:lnTo>
                <a:cubicBezTo>
                  <a:pt x="915258" y="214980"/>
                  <a:pt x="941737" y="232506"/>
                  <a:pt x="970503" y="227172"/>
                </a:cubicBezTo>
                <a:cubicBezTo>
                  <a:pt x="991077" y="223267"/>
                  <a:pt x="1008984" y="208693"/>
                  <a:pt x="1016413" y="191930"/>
                </a:cubicBezTo>
                <a:lnTo>
                  <a:pt x="1057371" y="204121"/>
                </a:lnTo>
                <a:cubicBezTo>
                  <a:pt x="1041274" y="244889"/>
                  <a:pt x="1000507" y="270035"/>
                  <a:pt x="958787" y="270035"/>
                </a:cubicBezTo>
                <a:cubicBezTo>
                  <a:pt x="898970" y="270035"/>
                  <a:pt x="852488" y="222029"/>
                  <a:pt x="852488" y="164593"/>
                </a:cubicBezTo>
                <a:cubicBezTo>
                  <a:pt x="852488" y="102299"/>
                  <a:pt x="900494" y="58770"/>
                  <a:pt x="956311" y="57246"/>
                </a:cubicBezTo>
                <a:close/>
                <a:moveTo>
                  <a:pt x="366903" y="57055"/>
                </a:moveTo>
                <a:cubicBezTo>
                  <a:pt x="425673" y="57055"/>
                  <a:pt x="473298" y="104680"/>
                  <a:pt x="473298" y="163449"/>
                </a:cubicBezTo>
                <a:cubicBezTo>
                  <a:pt x="473298" y="222219"/>
                  <a:pt x="425673" y="269844"/>
                  <a:pt x="366903" y="269844"/>
                </a:cubicBezTo>
                <a:cubicBezTo>
                  <a:pt x="308134" y="269844"/>
                  <a:pt x="260509" y="222219"/>
                  <a:pt x="260509" y="163449"/>
                </a:cubicBezTo>
                <a:cubicBezTo>
                  <a:pt x="260509" y="104680"/>
                  <a:pt x="308134" y="57055"/>
                  <a:pt x="366903" y="57055"/>
                </a:cubicBezTo>
                <a:close/>
                <a:moveTo>
                  <a:pt x="605885" y="56769"/>
                </a:moveTo>
                <a:lnTo>
                  <a:pt x="605885" y="100393"/>
                </a:lnTo>
                <a:lnTo>
                  <a:pt x="605981" y="100393"/>
                </a:lnTo>
                <a:cubicBezTo>
                  <a:pt x="574453" y="102013"/>
                  <a:pt x="547307" y="120301"/>
                  <a:pt x="547307" y="167164"/>
                </a:cubicBezTo>
                <a:cubicBezTo>
                  <a:pt x="547307" y="205073"/>
                  <a:pt x="547402" y="204025"/>
                  <a:pt x="547402" y="266795"/>
                </a:cubicBezTo>
                <a:lnTo>
                  <a:pt x="500920" y="266795"/>
                </a:lnTo>
                <a:lnTo>
                  <a:pt x="500920" y="63722"/>
                </a:lnTo>
                <a:lnTo>
                  <a:pt x="546164" y="63722"/>
                </a:lnTo>
                <a:lnTo>
                  <a:pt x="546164" y="87154"/>
                </a:lnTo>
                <a:cubicBezTo>
                  <a:pt x="552069" y="76295"/>
                  <a:pt x="566166" y="56769"/>
                  <a:pt x="605885" y="56769"/>
                </a:cubicBezTo>
                <a:close/>
                <a:moveTo>
                  <a:pt x="0" y="21622"/>
                </a:moveTo>
                <a:lnTo>
                  <a:pt x="47339" y="21622"/>
                </a:lnTo>
                <a:lnTo>
                  <a:pt x="186214" y="185166"/>
                </a:lnTo>
                <a:lnTo>
                  <a:pt x="186214" y="21622"/>
                </a:lnTo>
                <a:lnTo>
                  <a:pt x="233077" y="21622"/>
                </a:lnTo>
                <a:lnTo>
                  <a:pt x="232982" y="266700"/>
                </a:lnTo>
                <a:lnTo>
                  <a:pt x="189548" y="266700"/>
                </a:lnTo>
                <a:lnTo>
                  <a:pt x="48959" y="102680"/>
                </a:lnTo>
                <a:lnTo>
                  <a:pt x="48959" y="266414"/>
                </a:lnTo>
                <a:lnTo>
                  <a:pt x="0" y="266414"/>
                </a:lnTo>
                <a:close/>
                <a:moveTo>
                  <a:pt x="780098" y="0"/>
                </a:moveTo>
                <a:lnTo>
                  <a:pt x="823722" y="0"/>
                </a:lnTo>
                <a:lnTo>
                  <a:pt x="823722" y="161449"/>
                </a:lnTo>
                <a:cubicBezTo>
                  <a:pt x="823722" y="162115"/>
                  <a:pt x="823722" y="162782"/>
                  <a:pt x="823722" y="163449"/>
                </a:cubicBezTo>
                <a:cubicBezTo>
                  <a:pt x="823722" y="164116"/>
                  <a:pt x="823722" y="164783"/>
                  <a:pt x="823722" y="165449"/>
                </a:cubicBezTo>
                <a:lnTo>
                  <a:pt x="823722" y="266795"/>
                </a:lnTo>
                <a:cubicBezTo>
                  <a:pt x="823722" y="266795"/>
                  <a:pt x="782765" y="266795"/>
                  <a:pt x="782765" y="266795"/>
                </a:cubicBezTo>
                <a:lnTo>
                  <a:pt x="782765" y="239649"/>
                </a:lnTo>
                <a:cubicBezTo>
                  <a:pt x="771906" y="258889"/>
                  <a:pt x="740283" y="269748"/>
                  <a:pt x="717519" y="269748"/>
                </a:cubicBezTo>
                <a:cubicBezTo>
                  <a:pt x="656559" y="269748"/>
                  <a:pt x="607600" y="218408"/>
                  <a:pt x="611505" y="156591"/>
                </a:cubicBezTo>
                <a:cubicBezTo>
                  <a:pt x="614839" y="104299"/>
                  <a:pt x="656940" y="61722"/>
                  <a:pt x="709232" y="57531"/>
                </a:cubicBezTo>
                <a:cubicBezTo>
                  <a:pt x="737235" y="55245"/>
                  <a:pt x="769716" y="66104"/>
                  <a:pt x="780098" y="79819"/>
                </a:cubicBezTo>
                <a:close/>
              </a:path>
            </a:pathLst>
          </a:custGeom>
          <a:solidFill>
            <a:schemeClr val="bg1"/>
          </a:soli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1184726057"/>
      </p:ext>
    </p:extLst>
  </p:cSld>
  <p:clrMapOvr>
    <a:masterClrMapping/>
  </p:clrMapOvr>
  <p:hf hdr="0" ftr="0" dt="0"/>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95600"/>
          </a:xfrm>
        </p:spPr>
        <p:txBody>
          <a:bodyPr/>
          <a:lstStyle>
            <a:lvl1pPr>
              <a:defRPr sz="2900">
                <a:solidFill>
                  <a:srgbClr val="FBD9CA"/>
                </a:solidFill>
              </a:defRPr>
            </a:lvl1pPr>
          </a:lstStyle>
          <a:p>
            <a:r>
              <a:rPr lang="en-GB"/>
              <a:t>Click to edit Master title style</a:t>
            </a:r>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 name="Logotype"/>
          <p:cNvGrpSpPr/>
          <p:nvPr userDrawn="1"/>
        </p:nvGrpSpPr>
        <p:grpSpPr>
          <a:xfrm>
            <a:off x="641350" y="530890"/>
            <a:ext cx="1384039" cy="288609"/>
            <a:chOff x="9501453" y="6148765"/>
            <a:chExt cx="2047875" cy="427037"/>
          </a:xfrm>
          <a:solidFill>
            <a:schemeClr val="bg1"/>
          </a:solidFill>
        </p:grpSpPr>
        <p:sp>
          <p:nvSpPr>
            <p:cNvPr id="1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925087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5436000" cy="2473200"/>
          </a:xfrm>
        </p:spPr>
        <p:txBody>
          <a:bodyPr>
            <a:noAutofit/>
          </a:bodyPr>
          <a:lstStyle>
            <a:lvl1pPr>
              <a:defRPr sz="4000">
                <a:solidFill>
                  <a:schemeClr val="accent1"/>
                </a:solidFill>
              </a:defRPr>
            </a:lvl1pPr>
          </a:lstStyle>
          <a:p>
            <a:r>
              <a:rPr lang="en-GB"/>
              <a:t>Click to edit Master title style</a:t>
            </a:r>
            <a:endParaRPr lang="en-GB" dirty="0"/>
          </a:p>
        </p:txBody>
      </p:sp>
      <p:sp>
        <p:nvSpPr>
          <p:cNvPr id="3" name="Subtitle 2"/>
          <p:cNvSpPr>
            <a:spLocks noGrp="1"/>
          </p:cNvSpPr>
          <p:nvPr>
            <p:ph type="subTitle" idx="1"/>
          </p:nvPr>
        </p:nvSpPr>
        <p:spPr>
          <a:xfrm>
            <a:off x="648000" y="4294800"/>
            <a:ext cx="5436000" cy="360083"/>
          </a:xfrm>
        </p:spPr>
        <p:txBody>
          <a:bodyPr>
            <a:noAutofit/>
          </a:bodyPr>
          <a:lstStyle>
            <a:lvl1pPr marL="0" indent="0" algn="l">
              <a:buNone/>
              <a:defRPr sz="1800" b="1">
                <a:solidFill>
                  <a:schemeClr val="accent1"/>
                </a:solidFill>
                <a:latin typeface="+mj-lt"/>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21" name="Text Placeholder 20"/>
          <p:cNvSpPr>
            <a:spLocks noGrp="1"/>
          </p:cNvSpPr>
          <p:nvPr>
            <p:ph type="body" sz="quarter" idx="13" hasCustomPrompt="1"/>
          </p:nvPr>
        </p:nvSpPr>
        <p:spPr>
          <a:xfrm>
            <a:off x="648000" y="4773600"/>
            <a:ext cx="5436000" cy="216000"/>
          </a:xfrm>
        </p:spPr>
        <p:txBody>
          <a:bodyPr>
            <a:noAutofit/>
          </a:bodyPr>
          <a:lstStyle>
            <a:lvl1pPr marL="0" indent="0">
              <a:buNone/>
              <a:defRPr sz="1400">
                <a:solidFill>
                  <a:schemeClr val="accent1"/>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endParaRPr lang="en-GB" dirty="0"/>
          </a:p>
        </p:txBody>
      </p:sp>
      <p:sp>
        <p:nvSpPr>
          <p:cNvPr id="22" name="Text Placeholder 20"/>
          <p:cNvSpPr>
            <a:spLocks noGrp="1"/>
          </p:cNvSpPr>
          <p:nvPr>
            <p:ph type="body" sz="quarter" idx="14" hasCustomPrompt="1"/>
          </p:nvPr>
        </p:nvSpPr>
        <p:spPr>
          <a:xfrm>
            <a:off x="648000" y="5025600"/>
            <a:ext cx="5436000" cy="216000"/>
          </a:xfrm>
        </p:spPr>
        <p:txBody>
          <a:bodyPr>
            <a:noAutofit/>
          </a:bodyPr>
          <a:lstStyle>
            <a:lvl1pPr marL="0" indent="0">
              <a:buNone/>
              <a:defRPr sz="1400">
                <a:solidFill>
                  <a:schemeClr val="accent1"/>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endParaRPr lang="en-GB" dirty="0"/>
          </a:p>
        </p:txBody>
      </p:sp>
      <p:grpSp>
        <p:nvGrpSpPr>
          <p:cNvPr id="10" name="Pulse">
            <a:extLst>
              <a:ext uri="{FF2B5EF4-FFF2-40B4-BE49-F238E27FC236}">
                <a16:creationId xmlns:a16="http://schemas.microsoft.com/office/drawing/2014/main" id="{5E5D37B7-0D84-24B3-1D0F-520B0EC00344}"/>
              </a:ext>
            </a:extLst>
          </p:cNvPr>
          <p:cNvGrpSpPr/>
          <p:nvPr userDrawn="1"/>
        </p:nvGrpSpPr>
        <p:grpSpPr>
          <a:xfrm>
            <a:off x="6964846" y="941098"/>
            <a:ext cx="5232032" cy="5299513"/>
            <a:chOff x="8751888" y="3030538"/>
            <a:chExt cx="3446462" cy="3490913"/>
          </a:xfrm>
          <a:solidFill>
            <a:schemeClr val="bg2"/>
          </a:solidFill>
        </p:grpSpPr>
        <p:sp>
          <p:nvSpPr>
            <p:cNvPr id="11" name="Freeform 5">
              <a:extLst>
                <a:ext uri="{FF2B5EF4-FFF2-40B4-BE49-F238E27FC236}">
                  <a16:creationId xmlns:a16="http://schemas.microsoft.com/office/drawing/2014/main" id="{A04FB1EB-FF6E-F6B7-8991-2A63FC2A15AA}"/>
                </a:ext>
              </a:extLst>
            </p:cNvPr>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a:extLst>
                <a:ext uri="{FF2B5EF4-FFF2-40B4-BE49-F238E27FC236}">
                  <a16:creationId xmlns:a16="http://schemas.microsoft.com/office/drawing/2014/main" id="{29AF11C8-7F8F-F7C8-62A8-CCAF6B9D75AF}"/>
                </a:ext>
              </a:extLst>
            </p:cNvPr>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a:extLst>
                <a:ext uri="{FF2B5EF4-FFF2-40B4-BE49-F238E27FC236}">
                  <a16:creationId xmlns:a16="http://schemas.microsoft.com/office/drawing/2014/main" id="{FB5136C4-3187-35EB-C589-E310B3178514}"/>
                </a:ext>
              </a:extLst>
            </p:cNvPr>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a:extLst>
                <a:ext uri="{FF2B5EF4-FFF2-40B4-BE49-F238E27FC236}">
                  <a16:creationId xmlns:a16="http://schemas.microsoft.com/office/drawing/2014/main" id="{0257B1AA-DAD1-3C37-DE15-09A23C883A94}"/>
                </a:ext>
              </a:extLst>
            </p:cNvPr>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a:extLst>
                <a:ext uri="{FF2B5EF4-FFF2-40B4-BE49-F238E27FC236}">
                  <a16:creationId xmlns:a16="http://schemas.microsoft.com/office/drawing/2014/main" id="{28A911A6-7D23-992A-499B-E8DFD0C4BE5C}"/>
                </a:ext>
              </a:extLst>
            </p:cNvPr>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a:extLst>
                <a:ext uri="{FF2B5EF4-FFF2-40B4-BE49-F238E27FC236}">
                  <a16:creationId xmlns:a16="http://schemas.microsoft.com/office/drawing/2014/main" id="{2BFB7346-42D2-6E66-9653-1C8E1CB794B7}"/>
                </a:ext>
              </a:extLst>
            </p:cNvPr>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 name="Logotype">
            <a:extLst>
              <a:ext uri="{FF2B5EF4-FFF2-40B4-BE49-F238E27FC236}">
                <a16:creationId xmlns:a16="http://schemas.microsoft.com/office/drawing/2014/main" id="{8E544899-07C5-C614-769D-DA6A88187FC8}"/>
              </a:ext>
            </a:extLst>
          </p:cNvPr>
          <p:cNvSpPr>
            <a:spLocks noChangeAspect="1"/>
          </p:cNvSpPr>
          <p:nvPr userDrawn="1"/>
        </p:nvSpPr>
        <p:spPr>
          <a:xfrm>
            <a:off x="641350" y="530890"/>
            <a:ext cx="1386000" cy="288857"/>
          </a:xfrm>
          <a:custGeom>
            <a:avLst/>
            <a:gdLst>
              <a:gd name="connsiteX0" fmla="*/ 1189292 w 1295686"/>
              <a:gd name="connsiteY0" fmla="*/ 102299 h 270035"/>
              <a:gd name="connsiteX1" fmla="*/ 1128522 w 1295686"/>
              <a:gd name="connsiteY1" fmla="*/ 170593 h 270035"/>
              <a:gd name="connsiteX2" fmla="*/ 1181576 w 1295686"/>
              <a:gd name="connsiteY2" fmla="*/ 224219 h 270035"/>
              <a:gd name="connsiteX3" fmla="*/ 1250537 w 1295686"/>
              <a:gd name="connsiteY3" fmla="*/ 166688 h 270035"/>
              <a:gd name="connsiteX4" fmla="*/ 1250442 w 1295686"/>
              <a:gd name="connsiteY4" fmla="*/ 166688 h 270035"/>
              <a:gd name="connsiteX5" fmla="*/ 1250442 w 1295686"/>
              <a:gd name="connsiteY5" fmla="*/ 160306 h 270035"/>
              <a:gd name="connsiteX6" fmla="*/ 1189292 w 1295686"/>
              <a:gd name="connsiteY6" fmla="*/ 102299 h 270035"/>
              <a:gd name="connsiteX7" fmla="*/ 717519 w 1295686"/>
              <a:gd name="connsiteY7" fmla="*/ 102299 h 270035"/>
              <a:gd name="connsiteX8" fmla="*/ 656749 w 1295686"/>
              <a:gd name="connsiteY8" fmla="*/ 170593 h 270035"/>
              <a:gd name="connsiteX9" fmla="*/ 709803 w 1295686"/>
              <a:gd name="connsiteY9" fmla="*/ 224218 h 270035"/>
              <a:gd name="connsiteX10" fmla="*/ 778764 w 1295686"/>
              <a:gd name="connsiteY10" fmla="*/ 166687 h 270035"/>
              <a:gd name="connsiteX11" fmla="*/ 778669 w 1295686"/>
              <a:gd name="connsiteY11" fmla="*/ 166687 h 270035"/>
              <a:gd name="connsiteX12" fmla="*/ 778669 w 1295686"/>
              <a:gd name="connsiteY12" fmla="*/ 160306 h 270035"/>
              <a:gd name="connsiteX13" fmla="*/ 717519 w 1295686"/>
              <a:gd name="connsiteY13" fmla="*/ 102299 h 270035"/>
              <a:gd name="connsiteX14" fmla="*/ 366808 w 1295686"/>
              <a:gd name="connsiteY14" fmla="*/ 102299 h 270035"/>
              <a:gd name="connsiteX15" fmla="*/ 305657 w 1295686"/>
              <a:gd name="connsiteY15" fmla="*/ 163449 h 270035"/>
              <a:gd name="connsiteX16" fmla="*/ 366808 w 1295686"/>
              <a:gd name="connsiteY16" fmla="*/ 224600 h 270035"/>
              <a:gd name="connsiteX17" fmla="*/ 427958 w 1295686"/>
              <a:gd name="connsiteY17" fmla="*/ 163449 h 270035"/>
              <a:gd name="connsiteX18" fmla="*/ 366808 w 1295686"/>
              <a:gd name="connsiteY18" fmla="*/ 102299 h 270035"/>
              <a:gd name="connsiteX19" fmla="*/ 962039 w 1295686"/>
              <a:gd name="connsiteY19" fmla="*/ 96385 h 270035"/>
              <a:gd name="connsiteX20" fmla="*/ 938499 w 1295686"/>
              <a:gd name="connsiteY20" fmla="*/ 100585 h 270035"/>
              <a:gd name="connsiteX21" fmla="*/ 896779 w 1295686"/>
              <a:gd name="connsiteY21" fmla="*/ 159068 h 270035"/>
              <a:gd name="connsiteX22" fmla="*/ 896779 w 1295686"/>
              <a:gd name="connsiteY22" fmla="*/ 159164 h 270035"/>
              <a:gd name="connsiteX23" fmla="*/ 1011746 w 1295686"/>
              <a:gd name="connsiteY23" fmla="*/ 127541 h 270035"/>
              <a:gd name="connsiteX24" fmla="*/ 962039 w 1295686"/>
              <a:gd name="connsiteY24" fmla="*/ 96385 h 270035"/>
              <a:gd name="connsiteX25" fmla="*/ 1181005 w 1295686"/>
              <a:gd name="connsiteY25" fmla="*/ 57436 h 270035"/>
              <a:gd name="connsiteX26" fmla="*/ 1295686 w 1295686"/>
              <a:gd name="connsiteY26" fmla="*/ 165354 h 270035"/>
              <a:gd name="connsiteX27" fmla="*/ 1295686 w 1295686"/>
              <a:gd name="connsiteY27" fmla="*/ 266700 h 270035"/>
              <a:gd name="connsiteX28" fmla="*/ 1254538 w 1295686"/>
              <a:gd name="connsiteY28" fmla="*/ 266700 h 270035"/>
              <a:gd name="connsiteX29" fmla="*/ 1254538 w 1295686"/>
              <a:gd name="connsiteY29" fmla="*/ 235458 h 270035"/>
              <a:gd name="connsiteX30" fmla="*/ 1189292 w 1295686"/>
              <a:gd name="connsiteY30" fmla="*/ 269558 h 270035"/>
              <a:gd name="connsiteX31" fmla="*/ 1083278 w 1295686"/>
              <a:gd name="connsiteY31" fmla="*/ 156591 h 270035"/>
              <a:gd name="connsiteX32" fmla="*/ 1181005 w 1295686"/>
              <a:gd name="connsiteY32" fmla="*/ 57531 h 270035"/>
              <a:gd name="connsiteX33" fmla="*/ 956311 w 1295686"/>
              <a:gd name="connsiteY33" fmla="*/ 57246 h 270035"/>
              <a:gd name="connsiteX34" fmla="*/ 956311 w 1295686"/>
              <a:gd name="connsiteY34" fmla="*/ 57341 h 270035"/>
              <a:gd name="connsiteX35" fmla="*/ 1064134 w 1295686"/>
              <a:gd name="connsiteY35" fmla="*/ 151924 h 270035"/>
              <a:gd name="connsiteX36" fmla="*/ 904876 w 1295686"/>
              <a:gd name="connsiteY36" fmla="*/ 195359 h 270035"/>
              <a:gd name="connsiteX37" fmla="*/ 970503 w 1295686"/>
              <a:gd name="connsiteY37" fmla="*/ 227172 h 270035"/>
              <a:gd name="connsiteX38" fmla="*/ 1016413 w 1295686"/>
              <a:gd name="connsiteY38" fmla="*/ 191930 h 270035"/>
              <a:gd name="connsiteX39" fmla="*/ 1057371 w 1295686"/>
              <a:gd name="connsiteY39" fmla="*/ 204121 h 270035"/>
              <a:gd name="connsiteX40" fmla="*/ 958787 w 1295686"/>
              <a:gd name="connsiteY40" fmla="*/ 270035 h 270035"/>
              <a:gd name="connsiteX41" fmla="*/ 852488 w 1295686"/>
              <a:gd name="connsiteY41" fmla="*/ 164593 h 270035"/>
              <a:gd name="connsiteX42" fmla="*/ 956311 w 1295686"/>
              <a:gd name="connsiteY42" fmla="*/ 57246 h 270035"/>
              <a:gd name="connsiteX43" fmla="*/ 366903 w 1295686"/>
              <a:gd name="connsiteY43" fmla="*/ 57055 h 270035"/>
              <a:gd name="connsiteX44" fmla="*/ 473298 w 1295686"/>
              <a:gd name="connsiteY44" fmla="*/ 163449 h 270035"/>
              <a:gd name="connsiteX45" fmla="*/ 366903 w 1295686"/>
              <a:gd name="connsiteY45" fmla="*/ 269844 h 270035"/>
              <a:gd name="connsiteX46" fmla="*/ 260509 w 1295686"/>
              <a:gd name="connsiteY46" fmla="*/ 163449 h 270035"/>
              <a:gd name="connsiteX47" fmla="*/ 366903 w 1295686"/>
              <a:gd name="connsiteY47" fmla="*/ 57055 h 270035"/>
              <a:gd name="connsiteX48" fmla="*/ 605885 w 1295686"/>
              <a:gd name="connsiteY48" fmla="*/ 56769 h 270035"/>
              <a:gd name="connsiteX49" fmla="*/ 605885 w 1295686"/>
              <a:gd name="connsiteY49" fmla="*/ 100393 h 270035"/>
              <a:gd name="connsiteX50" fmla="*/ 605981 w 1295686"/>
              <a:gd name="connsiteY50" fmla="*/ 100393 h 270035"/>
              <a:gd name="connsiteX51" fmla="*/ 547307 w 1295686"/>
              <a:gd name="connsiteY51" fmla="*/ 167164 h 270035"/>
              <a:gd name="connsiteX52" fmla="*/ 547402 w 1295686"/>
              <a:gd name="connsiteY52" fmla="*/ 266795 h 270035"/>
              <a:gd name="connsiteX53" fmla="*/ 500920 w 1295686"/>
              <a:gd name="connsiteY53" fmla="*/ 266795 h 270035"/>
              <a:gd name="connsiteX54" fmla="*/ 500920 w 1295686"/>
              <a:gd name="connsiteY54" fmla="*/ 63722 h 270035"/>
              <a:gd name="connsiteX55" fmla="*/ 546164 w 1295686"/>
              <a:gd name="connsiteY55" fmla="*/ 63722 h 270035"/>
              <a:gd name="connsiteX56" fmla="*/ 546164 w 1295686"/>
              <a:gd name="connsiteY56" fmla="*/ 87154 h 270035"/>
              <a:gd name="connsiteX57" fmla="*/ 605885 w 1295686"/>
              <a:gd name="connsiteY57" fmla="*/ 56769 h 270035"/>
              <a:gd name="connsiteX58" fmla="*/ 0 w 1295686"/>
              <a:gd name="connsiteY58" fmla="*/ 21622 h 270035"/>
              <a:gd name="connsiteX59" fmla="*/ 47339 w 1295686"/>
              <a:gd name="connsiteY59" fmla="*/ 21622 h 270035"/>
              <a:gd name="connsiteX60" fmla="*/ 186214 w 1295686"/>
              <a:gd name="connsiteY60" fmla="*/ 185166 h 270035"/>
              <a:gd name="connsiteX61" fmla="*/ 186214 w 1295686"/>
              <a:gd name="connsiteY61" fmla="*/ 21622 h 270035"/>
              <a:gd name="connsiteX62" fmla="*/ 233077 w 1295686"/>
              <a:gd name="connsiteY62" fmla="*/ 21622 h 270035"/>
              <a:gd name="connsiteX63" fmla="*/ 232982 w 1295686"/>
              <a:gd name="connsiteY63" fmla="*/ 266700 h 270035"/>
              <a:gd name="connsiteX64" fmla="*/ 189548 w 1295686"/>
              <a:gd name="connsiteY64" fmla="*/ 266700 h 270035"/>
              <a:gd name="connsiteX65" fmla="*/ 48959 w 1295686"/>
              <a:gd name="connsiteY65" fmla="*/ 102680 h 270035"/>
              <a:gd name="connsiteX66" fmla="*/ 48959 w 1295686"/>
              <a:gd name="connsiteY66" fmla="*/ 266414 h 270035"/>
              <a:gd name="connsiteX67" fmla="*/ 0 w 1295686"/>
              <a:gd name="connsiteY67" fmla="*/ 266414 h 270035"/>
              <a:gd name="connsiteX68" fmla="*/ 780098 w 1295686"/>
              <a:gd name="connsiteY68" fmla="*/ 0 h 270035"/>
              <a:gd name="connsiteX69" fmla="*/ 823722 w 1295686"/>
              <a:gd name="connsiteY69" fmla="*/ 0 h 270035"/>
              <a:gd name="connsiteX70" fmla="*/ 823722 w 1295686"/>
              <a:gd name="connsiteY70" fmla="*/ 161449 h 270035"/>
              <a:gd name="connsiteX71" fmla="*/ 823722 w 1295686"/>
              <a:gd name="connsiteY71" fmla="*/ 163449 h 270035"/>
              <a:gd name="connsiteX72" fmla="*/ 823722 w 1295686"/>
              <a:gd name="connsiteY72" fmla="*/ 165449 h 270035"/>
              <a:gd name="connsiteX73" fmla="*/ 823722 w 1295686"/>
              <a:gd name="connsiteY73" fmla="*/ 266795 h 270035"/>
              <a:gd name="connsiteX74" fmla="*/ 782765 w 1295686"/>
              <a:gd name="connsiteY74" fmla="*/ 266795 h 270035"/>
              <a:gd name="connsiteX75" fmla="*/ 782765 w 1295686"/>
              <a:gd name="connsiteY75" fmla="*/ 239649 h 270035"/>
              <a:gd name="connsiteX76" fmla="*/ 717519 w 1295686"/>
              <a:gd name="connsiteY76" fmla="*/ 269748 h 270035"/>
              <a:gd name="connsiteX77" fmla="*/ 611505 w 1295686"/>
              <a:gd name="connsiteY77" fmla="*/ 156591 h 270035"/>
              <a:gd name="connsiteX78" fmla="*/ 709232 w 1295686"/>
              <a:gd name="connsiteY78" fmla="*/ 57531 h 270035"/>
              <a:gd name="connsiteX79" fmla="*/ 780098 w 1295686"/>
              <a:gd name="connsiteY79" fmla="*/ 79819 h 27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95686" h="270035">
                <a:moveTo>
                  <a:pt x="1189292" y="102299"/>
                </a:moveTo>
                <a:cubicBezTo>
                  <a:pt x="1153192" y="102299"/>
                  <a:pt x="1124426" y="133636"/>
                  <a:pt x="1128522" y="170593"/>
                </a:cubicBezTo>
                <a:cubicBezTo>
                  <a:pt x="1131665" y="198215"/>
                  <a:pt x="1153859" y="220790"/>
                  <a:pt x="1181576" y="224219"/>
                </a:cubicBezTo>
                <a:cubicBezTo>
                  <a:pt x="1217771" y="228695"/>
                  <a:pt x="1248728" y="201549"/>
                  <a:pt x="1250537" y="166688"/>
                </a:cubicBezTo>
                <a:lnTo>
                  <a:pt x="1250442" y="166688"/>
                </a:lnTo>
                <a:lnTo>
                  <a:pt x="1250442" y="160306"/>
                </a:lnTo>
                <a:cubicBezTo>
                  <a:pt x="1248728" y="128016"/>
                  <a:pt x="1222058" y="102299"/>
                  <a:pt x="1189292" y="102299"/>
                </a:cubicBezTo>
                <a:close/>
                <a:moveTo>
                  <a:pt x="717519" y="102299"/>
                </a:moveTo>
                <a:cubicBezTo>
                  <a:pt x="681419" y="102299"/>
                  <a:pt x="652653" y="133636"/>
                  <a:pt x="656749" y="170593"/>
                </a:cubicBezTo>
                <a:cubicBezTo>
                  <a:pt x="659892" y="198215"/>
                  <a:pt x="682086" y="220789"/>
                  <a:pt x="709803" y="224218"/>
                </a:cubicBezTo>
                <a:cubicBezTo>
                  <a:pt x="745998" y="228695"/>
                  <a:pt x="776955" y="201549"/>
                  <a:pt x="778764" y="166687"/>
                </a:cubicBezTo>
                <a:lnTo>
                  <a:pt x="778669" y="166687"/>
                </a:lnTo>
                <a:lnTo>
                  <a:pt x="778669" y="160306"/>
                </a:lnTo>
                <a:cubicBezTo>
                  <a:pt x="776955" y="128016"/>
                  <a:pt x="750285" y="102299"/>
                  <a:pt x="717519" y="102299"/>
                </a:cubicBezTo>
                <a:close/>
                <a:moveTo>
                  <a:pt x="366808" y="102299"/>
                </a:moveTo>
                <a:cubicBezTo>
                  <a:pt x="333089" y="102299"/>
                  <a:pt x="305657" y="129731"/>
                  <a:pt x="305657" y="163449"/>
                </a:cubicBezTo>
                <a:cubicBezTo>
                  <a:pt x="305657" y="197168"/>
                  <a:pt x="332994" y="224600"/>
                  <a:pt x="366808" y="224600"/>
                </a:cubicBezTo>
                <a:cubicBezTo>
                  <a:pt x="400527" y="224600"/>
                  <a:pt x="427958" y="197168"/>
                  <a:pt x="427958" y="163449"/>
                </a:cubicBezTo>
                <a:cubicBezTo>
                  <a:pt x="427958" y="129731"/>
                  <a:pt x="400527" y="102299"/>
                  <a:pt x="366808" y="102299"/>
                </a:cubicBezTo>
                <a:close/>
                <a:moveTo>
                  <a:pt x="962039" y="96385"/>
                </a:moveTo>
                <a:cubicBezTo>
                  <a:pt x="954578" y="96227"/>
                  <a:pt x="946666" y="97513"/>
                  <a:pt x="938499" y="100585"/>
                </a:cubicBezTo>
                <a:cubicBezTo>
                  <a:pt x="909733" y="111348"/>
                  <a:pt x="896779" y="136875"/>
                  <a:pt x="896779" y="159068"/>
                </a:cubicBezTo>
                <a:lnTo>
                  <a:pt x="896779" y="159164"/>
                </a:lnTo>
                <a:lnTo>
                  <a:pt x="1011746" y="127541"/>
                </a:lnTo>
                <a:cubicBezTo>
                  <a:pt x="1002744" y="110324"/>
                  <a:pt x="984421" y="96858"/>
                  <a:pt x="962039" y="96385"/>
                </a:cubicBezTo>
                <a:close/>
                <a:moveTo>
                  <a:pt x="1181005" y="57436"/>
                </a:moveTo>
                <a:cubicBezTo>
                  <a:pt x="1242060" y="52673"/>
                  <a:pt x="1295686" y="99346"/>
                  <a:pt x="1295686" y="165354"/>
                </a:cubicBezTo>
                <a:lnTo>
                  <a:pt x="1295686" y="266700"/>
                </a:lnTo>
                <a:lnTo>
                  <a:pt x="1254538" y="266700"/>
                </a:lnTo>
                <a:lnTo>
                  <a:pt x="1254538" y="235458"/>
                </a:lnTo>
                <a:cubicBezTo>
                  <a:pt x="1241108" y="258604"/>
                  <a:pt x="1211295" y="269558"/>
                  <a:pt x="1189292" y="269558"/>
                </a:cubicBezTo>
                <a:cubicBezTo>
                  <a:pt x="1128332" y="269558"/>
                  <a:pt x="1079373" y="218408"/>
                  <a:pt x="1083278" y="156591"/>
                </a:cubicBezTo>
                <a:cubicBezTo>
                  <a:pt x="1086612" y="104299"/>
                  <a:pt x="1128236" y="61627"/>
                  <a:pt x="1181005" y="57531"/>
                </a:cubicBezTo>
                <a:close/>
                <a:moveTo>
                  <a:pt x="956311" y="57246"/>
                </a:moveTo>
                <a:lnTo>
                  <a:pt x="956311" y="57341"/>
                </a:lnTo>
                <a:cubicBezTo>
                  <a:pt x="1023557" y="55436"/>
                  <a:pt x="1059466" y="111062"/>
                  <a:pt x="1064134" y="151924"/>
                </a:cubicBezTo>
                <a:lnTo>
                  <a:pt x="904876" y="195359"/>
                </a:lnTo>
                <a:cubicBezTo>
                  <a:pt x="915258" y="214980"/>
                  <a:pt x="941737" y="232506"/>
                  <a:pt x="970503" y="227172"/>
                </a:cubicBezTo>
                <a:cubicBezTo>
                  <a:pt x="991077" y="223267"/>
                  <a:pt x="1008984" y="208693"/>
                  <a:pt x="1016413" y="191930"/>
                </a:cubicBezTo>
                <a:lnTo>
                  <a:pt x="1057371" y="204121"/>
                </a:lnTo>
                <a:cubicBezTo>
                  <a:pt x="1041274" y="244889"/>
                  <a:pt x="1000507" y="270035"/>
                  <a:pt x="958787" y="270035"/>
                </a:cubicBezTo>
                <a:cubicBezTo>
                  <a:pt x="898970" y="270035"/>
                  <a:pt x="852488" y="222029"/>
                  <a:pt x="852488" y="164593"/>
                </a:cubicBezTo>
                <a:cubicBezTo>
                  <a:pt x="852488" y="102299"/>
                  <a:pt x="900494" y="58770"/>
                  <a:pt x="956311" y="57246"/>
                </a:cubicBezTo>
                <a:close/>
                <a:moveTo>
                  <a:pt x="366903" y="57055"/>
                </a:moveTo>
                <a:cubicBezTo>
                  <a:pt x="425673" y="57055"/>
                  <a:pt x="473298" y="104680"/>
                  <a:pt x="473298" y="163449"/>
                </a:cubicBezTo>
                <a:cubicBezTo>
                  <a:pt x="473298" y="222219"/>
                  <a:pt x="425673" y="269844"/>
                  <a:pt x="366903" y="269844"/>
                </a:cubicBezTo>
                <a:cubicBezTo>
                  <a:pt x="308134" y="269844"/>
                  <a:pt x="260509" y="222219"/>
                  <a:pt x="260509" y="163449"/>
                </a:cubicBezTo>
                <a:cubicBezTo>
                  <a:pt x="260509" y="104680"/>
                  <a:pt x="308134" y="57055"/>
                  <a:pt x="366903" y="57055"/>
                </a:cubicBezTo>
                <a:close/>
                <a:moveTo>
                  <a:pt x="605885" y="56769"/>
                </a:moveTo>
                <a:lnTo>
                  <a:pt x="605885" y="100393"/>
                </a:lnTo>
                <a:lnTo>
                  <a:pt x="605981" y="100393"/>
                </a:lnTo>
                <a:cubicBezTo>
                  <a:pt x="574453" y="102013"/>
                  <a:pt x="547307" y="120301"/>
                  <a:pt x="547307" y="167164"/>
                </a:cubicBezTo>
                <a:cubicBezTo>
                  <a:pt x="547307" y="205073"/>
                  <a:pt x="547402" y="204025"/>
                  <a:pt x="547402" y="266795"/>
                </a:cubicBezTo>
                <a:lnTo>
                  <a:pt x="500920" y="266795"/>
                </a:lnTo>
                <a:lnTo>
                  <a:pt x="500920" y="63722"/>
                </a:lnTo>
                <a:lnTo>
                  <a:pt x="546164" y="63722"/>
                </a:lnTo>
                <a:lnTo>
                  <a:pt x="546164" y="87154"/>
                </a:lnTo>
                <a:cubicBezTo>
                  <a:pt x="552069" y="76295"/>
                  <a:pt x="566166" y="56769"/>
                  <a:pt x="605885" y="56769"/>
                </a:cubicBezTo>
                <a:close/>
                <a:moveTo>
                  <a:pt x="0" y="21622"/>
                </a:moveTo>
                <a:lnTo>
                  <a:pt x="47339" y="21622"/>
                </a:lnTo>
                <a:lnTo>
                  <a:pt x="186214" y="185166"/>
                </a:lnTo>
                <a:lnTo>
                  <a:pt x="186214" y="21622"/>
                </a:lnTo>
                <a:lnTo>
                  <a:pt x="233077" y="21622"/>
                </a:lnTo>
                <a:lnTo>
                  <a:pt x="232982" y="266700"/>
                </a:lnTo>
                <a:lnTo>
                  <a:pt x="189548" y="266700"/>
                </a:lnTo>
                <a:lnTo>
                  <a:pt x="48959" y="102680"/>
                </a:lnTo>
                <a:lnTo>
                  <a:pt x="48959" y="266414"/>
                </a:lnTo>
                <a:lnTo>
                  <a:pt x="0" y="266414"/>
                </a:lnTo>
                <a:close/>
                <a:moveTo>
                  <a:pt x="780098" y="0"/>
                </a:moveTo>
                <a:lnTo>
                  <a:pt x="823722" y="0"/>
                </a:lnTo>
                <a:lnTo>
                  <a:pt x="823722" y="161449"/>
                </a:lnTo>
                <a:cubicBezTo>
                  <a:pt x="823722" y="162115"/>
                  <a:pt x="823722" y="162782"/>
                  <a:pt x="823722" y="163449"/>
                </a:cubicBezTo>
                <a:cubicBezTo>
                  <a:pt x="823722" y="164116"/>
                  <a:pt x="823722" y="164783"/>
                  <a:pt x="823722" y="165449"/>
                </a:cubicBezTo>
                <a:lnTo>
                  <a:pt x="823722" y="266795"/>
                </a:lnTo>
                <a:cubicBezTo>
                  <a:pt x="823722" y="266795"/>
                  <a:pt x="782765" y="266795"/>
                  <a:pt x="782765" y="266795"/>
                </a:cubicBezTo>
                <a:lnTo>
                  <a:pt x="782765" y="239649"/>
                </a:lnTo>
                <a:cubicBezTo>
                  <a:pt x="771906" y="258889"/>
                  <a:pt x="740283" y="269748"/>
                  <a:pt x="717519" y="269748"/>
                </a:cubicBezTo>
                <a:cubicBezTo>
                  <a:pt x="656559" y="269748"/>
                  <a:pt x="607600" y="218408"/>
                  <a:pt x="611505" y="156591"/>
                </a:cubicBezTo>
                <a:cubicBezTo>
                  <a:pt x="614839" y="104299"/>
                  <a:pt x="656940" y="61722"/>
                  <a:pt x="709232" y="57531"/>
                </a:cubicBezTo>
                <a:cubicBezTo>
                  <a:pt x="737235" y="55245"/>
                  <a:pt x="769716" y="66104"/>
                  <a:pt x="780098" y="79819"/>
                </a:cubicBezTo>
                <a:close/>
              </a:path>
            </a:pathLst>
          </a:custGeom>
          <a:solidFill>
            <a:srgbClr val="0000A0"/>
          </a:soli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2916754241"/>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60083"/>
            <a:ext cx="7200000" cy="720167"/>
          </a:xfrm>
        </p:spPr>
        <p:txBody>
          <a:bodyPr/>
          <a:lstStyle>
            <a:lvl1pPr>
              <a:defRPr>
                <a:solidFill>
                  <a:schemeClr val="accent4"/>
                </a:solidFill>
              </a:defRPr>
            </a:lvl1pPr>
          </a:lstStyle>
          <a:p>
            <a:r>
              <a:rPr lang="en-GB"/>
              <a:t>Click to add agenda title</a:t>
            </a:r>
            <a:endParaRPr lang="en-GB" dirty="0"/>
          </a:p>
        </p:txBody>
      </p:sp>
      <p:sp>
        <p:nvSpPr>
          <p:cNvPr id="3" name="Content Placeholder 2"/>
          <p:cNvSpPr>
            <a:spLocks noGrp="1"/>
          </p:cNvSpPr>
          <p:nvPr>
            <p:ph sz="half" idx="1"/>
          </p:nvPr>
        </p:nvSpPr>
        <p:spPr>
          <a:xfrm>
            <a:off x="648000" y="1332000"/>
            <a:ext cx="5364000" cy="4428000"/>
          </a:xfrm>
        </p:spPr>
        <p:txBody>
          <a:bodyPr>
            <a:noAutofit/>
          </a:bodyPr>
          <a:lstStyle>
            <a:lvl1pPr>
              <a:tabLst>
                <a:tab pos="5004000" algn="r"/>
              </a:tabLst>
              <a:defRPr sz="1600">
                <a:solidFill>
                  <a:schemeClr val="bg1"/>
                </a:solidFill>
              </a:defRPr>
            </a:lvl1pPr>
            <a:lvl2pPr>
              <a:tabLst>
                <a:tab pos="5004000" algn="r"/>
              </a:tabLst>
              <a:defRPr sz="1200">
                <a:solidFill>
                  <a:schemeClr val="bg1"/>
                </a:solidFill>
              </a:defRPr>
            </a:lvl2pPr>
            <a:lvl3pPr>
              <a:tabLst>
                <a:tab pos="5004000" algn="r"/>
              </a:tabLst>
              <a:defRPr sz="1200">
                <a:solidFill>
                  <a:schemeClr val="bg1"/>
                </a:solidFill>
              </a:defRPr>
            </a:lvl3pPr>
            <a:lvl4pPr>
              <a:tabLst>
                <a:tab pos="5004000" algn="r"/>
              </a:tabLst>
              <a:defRPr sz="1200">
                <a:solidFill>
                  <a:schemeClr val="bg1"/>
                </a:solidFill>
              </a:defRPr>
            </a:lvl4pPr>
            <a:lvl5pPr>
              <a:tabLst>
                <a:tab pos="5004000" algn="r"/>
              </a:tabLst>
              <a:defRPr sz="1200">
                <a:solidFill>
                  <a:schemeClr val="bg1"/>
                </a:solidFill>
              </a:defRPr>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p:nvPr>
        </p:nvSpPr>
        <p:spPr>
          <a:xfrm>
            <a:off x="6192000" y="1332000"/>
            <a:ext cx="5364000" cy="4428000"/>
          </a:xfrm>
        </p:spPr>
        <p:txBody>
          <a:bodyPr>
            <a:noAutofit/>
          </a:bodyPr>
          <a:lstStyle>
            <a:lvl1pPr>
              <a:tabLst>
                <a:tab pos="5004000" algn="r"/>
              </a:tabLst>
              <a:defRPr sz="1600">
                <a:solidFill>
                  <a:schemeClr val="bg1"/>
                </a:solidFill>
              </a:defRPr>
            </a:lvl1pPr>
            <a:lvl2pPr>
              <a:tabLst>
                <a:tab pos="5004000" algn="r"/>
              </a:tabLst>
              <a:defRPr sz="1200">
                <a:solidFill>
                  <a:schemeClr val="bg1"/>
                </a:solidFill>
              </a:defRPr>
            </a:lvl2pPr>
            <a:lvl3pPr>
              <a:tabLst>
                <a:tab pos="5004000" algn="r"/>
              </a:tabLst>
              <a:defRPr sz="1200">
                <a:solidFill>
                  <a:schemeClr val="bg1"/>
                </a:solidFill>
              </a:defRPr>
            </a:lvl3pPr>
            <a:lvl4pPr>
              <a:tabLst>
                <a:tab pos="5004000" algn="r"/>
              </a:tabLst>
              <a:defRPr sz="1200">
                <a:solidFill>
                  <a:schemeClr val="bg1"/>
                </a:solidFill>
              </a:defRPr>
            </a:lvl4pPr>
            <a:lvl5pPr>
              <a:tabLst>
                <a:tab pos="5004000" algn="r"/>
              </a:tabLst>
              <a:defRPr sz="1200">
                <a:solidFill>
                  <a:schemeClr val="bg1"/>
                </a:solidFill>
              </a:defRPr>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5" name="Footer Placeholder 4"/>
          <p:cNvSpPr>
            <a:spLocks noGrp="1"/>
          </p:cNvSpPr>
          <p:nvPr>
            <p:ph type="ftr" sz="quarter" idx="13"/>
          </p:nvPr>
        </p:nvSpPr>
        <p:spPr/>
        <p:txBody>
          <a:bodyPr/>
          <a:lstStyle>
            <a:lvl1pPr>
              <a:defRPr>
                <a:solidFill>
                  <a:schemeClr val="bg1"/>
                </a:solidFill>
              </a:defRPr>
            </a:lvl1pPr>
          </a:lstStyle>
          <a:p>
            <a:endParaRPr lang="en-GB" dirty="0"/>
          </a:p>
        </p:txBody>
      </p:sp>
      <p:sp>
        <p:nvSpPr>
          <p:cNvPr id="6" name="Logotype, static">
            <a:extLst>
              <a:ext uri="{FF2B5EF4-FFF2-40B4-BE49-F238E27FC236}">
                <a16:creationId xmlns:a16="http://schemas.microsoft.com/office/drawing/2014/main" id="{17C67F4D-39A7-4665-5442-B164D1DECA70}"/>
              </a:ext>
            </a:extLst>
          </p:cNvPr>
          <p:cNvSpPr>
            <a:spLocks noChangeAspect="1"/>
          </p:cNvSpPr>
          <p:nvPr userDrawn="1"/>
        </p:nvSpPr>
        <p:spPr>
          <a:xfrm>
            <a:off x="10689559" y="6389370"/>
            <a:ext cx="864000" cy="180067"/>
          </a:xfrm>
          <a:custGeom>
            <a:avLst/>
            <a:gdLst>
              <a:gd name="connsiteX0" fmla="*/ 1189292 w 1295686"/>
              <a:gd name="connsiteY0" fmla="*/ 102299 h 270035"/>
              <a:gd name="connsiteX1" fmla="*/ 1128522 w 1295686"/>
              <a:gd name="connsiteY1" fmla="*/ 170593 h 270035"/>
              <a:gd name="connsiteX2" fmla="*/ 1181576 w 1295686"/>
              <a:gd name="connsiteY2" fmla="*/ 224219 h 270035"/>
              <a:gd name="connsiteX3" fmla="*/ 1250537 w 1295686"/>
              <a:gd name="connsiteY3" fmla="*/ 166688 h 270035"/>
              <a:gd name="connsiteX4" fmla="*/ 1250442 w 1295686"/>
              <a:gd name="connsiteY4" fmla="*/ 166688 h 270035"/>
              <a:gd name="connsiteX5" fmla="*/ 1250442 w 1295686"/>
              <a:gd name="connsiteY5" fmla="*/ 160306 h 270035"/>
              <a:gd name="connsiteX6" fmla="*/ 1189292 w 1295686"/>
              <a:gd name="connsiteY6" fmla="*/ 102299 h 270035"/>
              <a:gd name="connsiteX7" fmla="*/ 717519 w 1295686"/>
              <a:gd name="connsiteY7" fmla="*/ 102299 h 270035"/>
              <a:gd name="connsiteX8" fmla="*/ 656749 w 1295686"/>
              <a:gd name="connsiteY8" fmla="*/ 170593 h 270035"/>
              <a:gd name="connsiteX9" fmla="*/ 709803 w 1295686"/>
              <a:gd name="connsiteY9" fmla="*/ 224218 h 270035"/>
              <a:gd name="connsiteX10" fmla="*/ 778764 w 1295686"/>
              <a:gd name="connsiteY10" fmla="*/ 166687 h 270035"/>
              <a:gd name="connsiteX11" fmla="*/ 778669 w 1295686"/>
              <a:gd name="connsiteY11" fmla="*/ 166687 h 270035"/>
              <a:gd name="connsiteX12" fmla="*/ 778669 w 1295686"/>
              <a:gd name="connsiteY12" fmla="*/ 160306 h 270035"/>
              <a:gd name="connsiteX13" fmla="*/ 717519 w 1295686"/>
              <a:gd name="connsiteY13" fmla="*/ 102299 h 270035"/>
              <a:gd name="connsiteX14" fmla="*/ 366808 w 1295686"/>
              <a:gd name="connsiteY14" fmla="*/ 102299 h 270035"/>
              <a:gd name="connsiteX15" fmla="*/ 305657 w 1295686"/>
              <a:gd name="connsiteY15" fmla="*/ 163449 h 270035"/>
              <a:gd name="connsiteX16" fmla="*/ 366808 w 1295686"/>
              <a:gd name="connsiteY16" fmla="*/ 224600 h 270035"/>
              <a:gd name="connsiteX17" fmla="*/ 427958 w 1295686"/>
              <a:gd name="connsiteY17" fmla="*/ 163449 h 270035"/>
              <a:gd name="connsiteX18" fmla="*/ 366808 w 1295686"/>
              <a:gd name="connsiteY18" fmla="*/ 102299 h 270035"/>
              <a:gd name="connsiteX19" fmla="*/ 962039 w 1295686"/>
              <a:gd name="connsiteY19" fmla="*/ 96385 h 270035"/>
              <a:gd name="connsiteX20" fmla="*/ 938499 w 1295686"/>
              <a:gd name="connsiteY20" fmla="*/ 100585 h 270035"/>
              <a:gd name="connsiteX21" fmla="*/ 896779 w 1295686"/>
              <a:gd name="connsiteY21" fmla="*/ 159068 h 270035"/>
              <a:gd name="connsiteX22" fmla="*/ 896779 w 1295686"/>
              <a:gd name="connsiteY22" fmla="*/ 159164 h 270035"/>
              <a:gd name="connsiteX23" fmla="*/ 1011746 w 1295686"/>
              <a:gd name="connsiteY23" fmla="*/ 127541 h 270035"/>
              <a:gd name="connsiteX24" fmla="*/ 962039 w 1295686"/>
              <a:gd name="connsiteY24" fmla="*/ 96385 h 270035"/>
              <a:gd name="connsiteX25" fmla="*/ 1181005 w 1295686"/>
              <a:gd name="connsiteY25" fmla="*/ 57436 h 270035"/>
              <a:gd name="connsiteX26" fmla="*/ 1295686 w 1295686"/>
              <a:gd name="connsiteY26" fmla="*/ 165354 h 270035"/>
              <a:gd name="connsiteX27" fmla="*/ 1295686 w 1295686"/>
              <a:gd name="connsiteY27" fmla="*/ 266700 h 270035"/>
              <a:gd name="connsiteX28" fmla="*/ 1254538 w 1295686"/>
              <a:gd name="connsiteY28" fmla="*/ 266700 h 270035"/>
              <a:gd name="connsiteX29" fmla="*/ 1254538 w 1295686"/>
              <a:gd name="connsiteY29" fmla="*/ 235458 h 270035"/>
              <a:gd name="connsiteX30" fmla="*/ 1189292 w 1295686"/>
              <a:gd name="connsiteY30" fmla="*/ 269558 h 270035"/>
              <a:gd name="connsiteX31" fmla="*/ 1083278 w 1295686"/>
              <a:gd name="connsiteY31" fmla="*/ 156591 h 270035"/>
              <a:gd name="connsiteX32" fmla="*/ 1181005 w 1295686"/>
              <a:gd name="connsiteY32" fmla="*/ 57531 h 270035"/>
              <a:gd name="connsiteX33" fmla="*/ 956311 w 1295686"/>
              <a:gd name="connsiteY33" fmla="*/ 57246 h 270035"/>
              <a:gd name="connsiteX34" fmla="*/ 956311 w 1295686"/>
              <a:gd name="connsiteY34" fmla="*/ 57341 h 270035"/>
              <a:gd name="connsiteX35" fmla="*/ 1064134 w 1295686"/>
              <a:gd name="connsiteY35" fmla="*/ 151924 h 270035"/>
              <a:gd name="connsiteX36" fmla="*/ 904876 w 1295686"/>
              <a:gd name="connsiteY36" fmla="*/ 195359 h 270035"/>
              <a:gd name="connsiteX37" fmla="*/ 970503 w 1295686"/>
              <a:gd name="connsiteY37" fmla="*/ 227172 h 270035"/>
              <a:gd name="connsiteX38" fmla="*/ 1016413 w 1295686"/>
              <a:gd name="connsiteY38" fmla="*/ 191930 h 270035"/>
              <a:gd name="connsiteX39" fmla="*/ 1057371 w 1295686"/>
              <a:gd name="connsiteY39" fmla="*/ 204121 h 270035"/>
              <a:gd name="connsiteX40" fmla="*/ 958787 w 1295686"/>
              <a:gd name="connsiteY40" fmla="*/ 270035 h 270035"/>
              <a:gd name="connsiteX41" fmla="*/ 852488 w 1295686"/>
              <a:gd name="connsiteY41" fmla="*/ 164593 h 270035"/>
              <a:gd name="connsiteX42" fmla="*/ 956311 w 1295686"/>
              <a:gd name="connsiteY42" fmla="*/ 57246 h 270035"/>
              <a:gd name="connsiteX43" fmla="*/ 366903 w 1295686"/>
              <a:gd name="connsiteY43" fmla="*/ 57055 h 270035"/>
              <a:gd name="connsiteX44" fmla="*/ 473298 w 1295686"/>
              <a:gd name="connsiteY44" fmla="*/ 163449 h 270035"/>
              <a:gd name="connsiteX45" fmla="*/ 366903 w 1295686"/>
              <a:gd name="connsiteY45" fmla="*/ 269844 h 270035"/>
              <a:gd name="connsiteX46" fmla="*/ 260509 w 1295686"/>
              <a:gd name="connsiteY46" fmla="*/ 163449 h 270035"/>
              <a:gd name="connsiteX47" fmla="*/ 366903 w 1295686"/>
              <a:gd name="connsiteY47" fmla="*/ 57055 h 270035"/>
              <a:gd name="connsiteX48" fmla="*/ 605885 w 1295686"/>
              <a:gd name="connsiteY48" fmla="*/ 56769 h 270035"/>
              <a:gd name="connsiteX49" fmla="*/ 605885 w 1295686"/>
              <a:gd name="connsiteY49" fmla="*/ 100393 h 270035"/>
              <a:gd name="connsiteX50" fmla="*/ 605981 w 1295686"/>
              <a:gd name="connsiteY50" fmla="*/ 100393 h 270035"/>
              <a:gd name="connsiteX51" fmla="*/ 547307 w 1295686"/>
              <a:gd name="connsiteY51" fmla="*/ 167164 h 270035"/>
              <a:gd name="connsiteX52" fmla="*/ 547402 w 1295686"/>
              <a:gd name="connsiteY52" fmla="*/ 266795 h 270035"/>
              <a:gd name="connsiteX53" fmla="*/ 500920 w 1295686"/>
              <a:gd name="connsiteY53" fmla="*/ 266795 h 270035"/>
              <a:gd name="connsiteX54" fmla="*/ 500920 w 1295686"/>
              <a:gd name="connsiteY54" fmla="*/ 63722 h 270035"/>
              <a:gd name="connsiteX55" fmla="*/ 546164 w 1295686"/>
              <a:gd name="connsiteY55" fmla="*/ 63722 h 270035"/>
              <a:gd name="connsiteX56" fmla="*/ 546164 w 1295686"/>
              <a:gd name="connsiteY56" fmla="*/ 87154 h 270035"/>
              <a:gd name="connsiteX57" fmla="*/ 605885 w 1295686"/>
              <a:gd name="connsiteY57" fmla="*/ 56769 h 270035"/>
              <a:gd name="connsiteX58" fmla="*/ 0 w 1295686"/>
              <a:gd name="connsiteY58" fmla="*/ 21622 h 270035"/>
              <a:gd name="connsiteX59" fmla="*/ 47339 w 1295686"/>
              <a:gd name="connsiteY59" fmla="*/ 21622 h 270035"/>
              <a:gd name="connsiteX60" fmla="*/ 186214 w 1295686"/>
              <a:gd name="connsiteY60" fmla="*/ 185166 h 270035"/>
              <a:gd name="connsiteX61" fmla="*/ 186214 w 1295686"/>
              <a:gd name="connsiteY61" fmla="*/ 21622 h 270035"/>
              <a:gd name="connsiteX62" fmla="*/ 233077 w 1295686"/>
              <a:gd name="connsiteY62" fmla="*/ 21622 h 270035"/>
              <a:gd name="connsiteX63" fmla="*/ 232982 w 1295686"/>
              <a:gd name="connsiteY63" fmla="*/ 266700 h 270035"/>
              <a:gd name="connsiteX64" fmla="*/ 189548 w 1295686"/>
              <a:gd name="connsiteY64" fmla="*/ 266700 h 270035"/>
              <a:gd name="connsiteX65" fmla="*/ 48959 w 1295686"/>
              <a:gd name="connsiteY65" fmla="*/ 102680 h 270035"/>
              <a:gd name="connsiteX66" fmla="*/ 48959 w 1295686"/>
              <a:gd name="connsiteY66" fmla="*/ 266414 h 270035"/>
              <a:gd name="connsiteX67" fmla="*/ 0 w 1295686"/>
              <a:gd name="connsiteY67" fmla="*/ 266414 h 270035"/>
              <a:gd name="connsiteX68" fmla="*/ 780098 w 1295686"/>
              <a:gd name="connsiteY68" fmla="*/ 0 h 270035"/>
              <a:gd name="connsiteX69" fmla="*/ 823722 w 1295686"/>
              <a:gd name="connsiteY69" fmla="*/ 0 h 270035"/>
              <a:gd name="connsiteX70" fmla="*/ 823722 w 1295686"/>
              <a:gd name="connsiteY70" fmla="*/ 161449 h 270035"/>
              <a:gd name="connsiteX71" fmla="*/ 823722 w 1295686"/>
              <a:gd name="connsiteY71" fmla="*/ 163449 h 270035"/>
              <a:gd name="connsiteX72" fmla="*/ 823722 w 1295686"/>
              <a:gd name="connsiteY72" fmla="*/ 165449 h 270035"/>
              <a:gd name="connsiteX73" fmla="*/ 823722 w 1295686"/>
              <a:gd name="connsiteY73" fmla="*/ 266795 h 270035"/>
              <a:gd name="connsiteX74" fmla="*/ 782765 w 1295686"/>
              <a:gd name="connsiteY74" fmla="*/ 266795 h 270035"/>
              <a:gd name="connsiteX75" fmla="*/ 782765 w 1295686"/>
              <a:gd name="connsiteY75" fmla="*/ 239649 h 270035"/>
              <a:gd name="connsiteX76" fmla="*/ 717519 w 1295686"/>
              <a:gd name="connsiteY76" fmla="*/ 269748 h 270035"/>
              <a:gd name="connsiteX77" fmla="*/ 611505 w 1295686"/>
              <a:gd name="connsiteY77" fmla="*/ 156591 h 270035"/>
              <a:gd name="connsiteX78" fmla="*/ 709232 w 1295686"/>
              <a:gd name="connsiteY78" fmla="*/ 57531 h 270035"/>
              <a:gd name="connsiteX79" fmla="*/ 780098 w 1295686"/>
              <a:gd name="connsiteY79" fmla="*/ 79819 h 27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95686" h="270035">
                <a:moveTo>
                  <a:pt x="1189292" y="102299"/>
                </a:moveTo>
                <a:cubicBezTo>
                  <a:pt x="1153192" y="102299"/>
                  <a:pt x="1124426" y="133636"/>
                  <a:pt x="1128522" y="170593"/>
                </a:cubicBezTo>
                <a:cubicBezTo>
                  <a:pt x="1131665" y="198215"/>
                  <a:pt x="1153859" y="220790"/>
                  <a:pt x="1181576" y="224219"/>
                </a:cubicBezTo>
                <a:cubicBezTo>
                  <a:pt x="1217771" y="228695"/>
                  <a:pt x="1248728" y="201549"/>
                  <a:pt x="1250537" y="166688"/>
                </a:cubicBezTo>
                <a:lnTo>
                  <a:pt x="1250442" y="166688"/>
                </a:lnTo>
                <a:lnTo>
                  <a:pt x="1250442" y="160306"/>
                </a:lnTo>
                <a:cubicBezTo>
                  <a:pt x="1248728" y="128016"/>
                  <a:pt x="1222058" y="102299"/>
                  <a:pt x="1189292" y="102299"/>
                </a:cubicBezTo>
                <a:close/>
                <a:moveTo>
                  <a:pt x="717519" y="102299"/>
                </a:moveTo>
                <a:cubicBezTo>
                  <a:pt x="681419" y="102299"/>
                  <a:pt x="652653" y="133636"/>
                  <a:pt x="656749" y="170593"/>
                </a:cubicBezTo>
                <a:cubicBezTo>
                  <a:pt x="659892" y="198215"/>
                  <a:pt x="682086" y="220789"/>
                  <a:pt x="709803" y="224218"/>
                </a:cubicBezTo>
                <a:cubicBezTo>
                  <a:pt x="745998" y="228695"/>
                  <a:pt x="776955" y="201549"/>
                  <a:pt x="778764" y="166687"/>
                </a:cubicBezTo>
                <a:lnTo>
                  <a:pt x="778669" y="166687"/>
                </a:lnTo>
                <a:lnTo>
                  <a:pt x="778669" y="160306"/>
                </a:lnTo>
                <a:cubicBezTo>
                  <a:pt x="776955" y="128016"/>
                  <a:pt x="750285" y="102299"/>
                  <a:pt x="717519" y="102299"/>
                </a:cubicBezTo>
                <a:close/>
                <a:moveTo>
                  <a:pt x="366808" y="102299"/>
                </a:moveTo>
                <a:cubicBezTo>
                  <a:pt x="333089" y="102299"/>
                  <a:pt x="305657" y="129731"/>
                  <a:pt x="305657" y="163449"/>
                </a:cubicBezTo>
                <a:cubicBezTo>
                  <a:pt x="305657" y="197168"/>
                  <a:pt x="332994" y="224600"/>
                  <a:pt x="366808" y="224600"/>
                </a:cubicBezTo>
                <a:cubicBezTo>
                  <a:pt x="400527" y="224600"/>
                  <a:pt x="427958" y="197168"/>
                  <a:pt x="427958" y="163449"/>
                </a:cubicBezTo>
                <a:cubicBezTo>
                  <a:pt x="427958" y="129731"/>
                  <a:pt x="400527" y="102299"/>
                  <a:pt x="366808" y="102299"/>
                </a:cubicBezTo>
                <a:close/>
                <a:moveTo>
                  <a:pt x="962039" y="96385"/>
                </a:moveTo>
                <a:cubicBezTo>
                  <a:pt x="954578" y="96227"/>
                  <a:pt x="946666" y="97513"/>
                  <a:pt x="938499" y="100585"/>
                </a:cubicBezTo>
                <a:cubicBezTo>
                  <a:pt x="909733" y="111348"/>
                  <a:pt x="896779" y="136875"/>
                  <a:pt x="896779" y="159068"/>
                </a:cubicBezTo>
                <a:lnTo>
                  <a:pt x="896779" y="159164"/>
                </a:lnTo>
                <a:lnTo>
                  <a:pt x="1011746" y="127541"/>
                </a:lnTo>
                <a:cubicBezTo>
                  <a:pt x="1002744" y="110324"/>
                  <a:pt x="984421" y="96858"/>
                  <a:pt x="962039" y="96385"/>
                </a:cubicBezTo>
                <a:close/>
                <a:moveTo>
                  <a:pt x="1181005" y="57436"/>
                </a:moveTo>
                <a:cubicBezTo>
                  <a:pt x="1242060" y="52673"/>
                  <a:pt x="1295686" y="99346"/>
                  <a:pt x="1295686" y="165354"/>
                </a:cubicBezTo>
                <a:lnTo>
                  <a:pt x="1295686" y="266700"/>
                </a:lnTo>
                <a:lnTo>
                  <a:pt x="1254538" y="266700"/>
                </a:lnTo>
                <a:lnTo>
                  <a:pt x="1254538" y="235458"/>
                </a:lnTo>
                <a:cubicBezTo>
                  <a:pt x="1241108" y="258604"/>
                  <a:pt x="1211295" y="269558"/>
                  <a:pt x="1189292" y="269558"/>
                </a:cubicBezTo>
                <a:cubicBezTo>
                  <a:pt x="1128332" y="269558"/>
                  <a:pt x="1079373" y="218408"/>
                  <a:pt x="1083278" y="156591"/>
                </a:cubicBezTo>
                <a:cubicBezTo>
                  <a:pt x="1086612" y="104299"/>
                  <a:pt x="1128236" y="61627"/>
                  <a:pt x="1181005" y="57531"/>
                </a:cubicBezTo>
                <a:close/>
                <a:moveTo>
                  <a:pt x="956311" y="57246"/>
                </a:moveTo>
                <a:lnTo>
                  <a:pt x="956311" y="57341"/>
                </a:lnTo>
                <a:cubicBezTo>
                  <a:pt x="1023557" y="55436"/>
                  <a:pt x="1059466" y="111062"/>
                  <a:pt x="1064134" y="151924"/>
                </a:cubicBezTo>
                <a:lnTo>
                  <a:pt x="904876" y="195359"/>
                </a:lnTo>
                <a:cubicBezTo>
                  <a:pt x="915258" y="214980"/>
                  <a:pt x="941737" y="232506"/>
                  <a:pt x="970503" y="227172"/>
                </a:cubicBezTo>
                <a:cubicBezTo>
                  <a:pt x="991077" y="223267"/>
                  <a:pt x="1008984" y="208693"/>
                  <a:pt x="1016413" y="191930"/>
                </a:cubicBezTo>
                <a:lnTo>
                  <a:pt x="1057371" y="204121"/>
                </a:lnTo>
                <a:cubicBezTo>
                  <a:pt x="1041274" y="244889"/>
                  <a:pt x="1000507" y="270035"/>
                  <a:pt x="958787" y="270035"/>
                </a:cubicBezTo>
                <a:cubicBezTo>
                  <a:pt x="898970" y="270035"/>
                  <a:pt x="852488" y="222029"/>
                  <a:pt x="852488" y="164593"/>
                </a:cubicBezTo>
                <a:cubicBezTo>
                  <a:pt x="852488" y="102299"/>
                  <a:pt x="900494" y="58770"/>
                  <a:pt x="956311" y="57246"/>
                </a:cubicBezTo>
                <a:close/>
                <a:moveTo>
                  <a:pt x="366903" y="57055"/>
                </a:moveTo>
                <a:cubicBezTo>
                  <a:pt x="425673" y="57055"/>
                  <a:pt x="473298" y="104680"/>
                  <a:pt x="473298" y="163449"/>
                </a:cubicBezTo>
                <a:cubicBezTo>
                  <a:pt x="473298" y="222219"/>
                  <a:pt x="425673" y="269844"/>
                  <a:pt x="366903" y="269844"/>
                </a:cubicBezTo>
                <a:cubicBezTo>
                  <a:pt x="308134" y="269844"/>
                  <a:pt x="260509" y="222219"/>
                  <a:pt x="260509" y="163449"/>
                </a:cubicBezTo>
                <a:cubicBezTo>
                  <a:pt x="260509" y="104680"/>
                  <a:pt x="308134" y="57055"/>
                  <a:pt x="366903" y="57055"/>
                </a:cubicBezTo>
                <a:close/>
                <a:moveTo>
                  <a:pt x="605885" y="56769"/>
                </a:moveTo>
                <a:lnTo>
                  <a:pt x="605885" y="100393"/>
                </a:lnTo>
                <a:lnTo>
                  <a:pt x="605981" y="100393"/>
                </a:lnTo>
                <a:cubicBezTo>
                  <a:pt x="574453" y="102013"/>
                  <a:pt x="547307" y="120301"/>
                  <a:pt x="547307" y="167164"/>
                </a:cubicBezTo>
                <a:cubicBezTo>
                  <a:pt x="547307" y="205073"/>
                  <a:pt x="547402" y="204025"/>
                  <a:pt x="547402" y="266795"/>
                </a:cubicBezTo>
                <a:lnTo>
                  <a:pt x="500920" y="266795"/>
                </a:lnTo>
                <a:lnTo>
                  <a:pt x="500920" y="63722"/>
                </a:lnTo>
                <a:lnTo>
                  <a:pt x="546164" y="63722"/>
                </a:lnTo>
                <a:lnTo>
                  <a:pt x="546164" y="87154"/>
                </a:lnTo>
                <a:cubicBezTo>
                  <a:pt x="552069" y="76295"/>
                  <a:pt x="566166" y="56769"/>
                  <a:pt x="605885" y="56769"/>
                </a:cubicBezTo>
                <a:close/>
                <a:moveTo>
                  <a:pt x="0" y="21622"/>
                </a:moveTo>
                <a:lnTo>
                  <a:pt x="47339" y="21622"/>
                </a:lnTo>
                <a:lnTo>
                  <a:pt x="186214" y="185166"/>
                </a:lnTo>
                <a:lnTo>
                  <a:pt x="186214" y="21622"/>
                </a:lnTo>
                <a:lnTo>
                  <a:pt x="233077" y="21622"/>
                </a:lnTo>
                <a:lnTo>
                  <a:pt x="232982" y="266700"/>
                </a:lnTo>
                <a:lnTo>
                  <a:pt x="189548" y="266700"/>
                </a:lnTo>
                <a:lnTo>
                  <a:pt x="48959" y="102680"/>
                </a:lnTo>
                <a:lnTo>
                  <a:pt x="48959" y="266414"/>
                </a:lnTo>
                <a:lnTo>
                  <a:pt x="0" y="266414"/>
                </a:lnTo>
                <a:close/>
                <a:moveTo>
                  <a:pt x="780098" y="0"/>
                </a:moveTo>
                <a:lnTo>
                  <a:pt x="823722" y="0"/>
                </a:lnTo>
                <a:lnTo>
                  <a:pt x="823722" y="161449"/>
                </a:lnTo>
                <a:cubicBezTo>
                  <a:pt x="823722" y="162115"/>
                  <a:pt x="823722" y="162782"/>
                  <a:pt x="823722" y="163449"/>
                </a:cubicBezTo>
                <a:cubicBezTo>
                  <a:pt x="823722" y="164116"/>
                  <a:pt x="823722" y="164783"/>
                  <a:pt x="823722" y="165449"/>
                </a:cubicBezTo>
                <a:lnTo>
                  <a:pt x="823722" y="266795"/>
                </a:lnTo>
                <a:cubicBezTo>
                  <a:pt x="823722" y="266795"/>
                  <a:pt x="782765" y="266795"/>
                  <a:pt x="782765" y="266795"/>
                </a:cubicBezTo>
                <a:lnTo>
                  <a:pt x="782765" y="239649"/>
                </a:lnTo>
                <a:cubicBezTo>
                  <a:pt x="771906" y="258889"/>
                  <a:pt x="740283" y="269748"/>
                  <a:pt x="717519" y="269748"/>
                </a:cubicBezTo>
                <a:cubicBezTo>
                  <a:pt x="656559" y="269748"/>
                  <a:pt x="607600" y="218408"/>
                  <a:pt x="611505" y="156591"/>
                </a:cubicBezTo>
                <a:cubicBezTo>
                  <a:pt x="614839" y="104299"/>
                  <a:pt x="656940" y="61722"/>
                  <a:pt x="709232" y="57531"/>
                </a:cubicBezTo>
                <a:cubicBezTo>
                  <a:pt x="737235" y="55245"/>
                  <a:pt x="769716" y="66104"/>
                  <a:pt x="780098" y="79819"/>
                </a:cubicBezTo>
                <a:close/>
              </a:path>
            </a:pathLst>
          </a:custGeom>
          <a:solidFill>
            <a:schemeClr val="bg1"/>
          </a:soli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4166014342"/>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5"/>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4" name="Title 3"/>
          <p:cNvSpPr>
            <a:spLocks noGrp="1"/>
          </p:cNvSpPr>
          <p:nvPr>
            <p:ph type="title"/>
          </p:nvPr>
        </p:nvSpPr>
        <p:spPr/>
        <p:txBody>
          <a:bodyPr/>
          <a:lstStyle/>
          <a:p>
            <a:r>
              <a:rPr lang="en-GB"/>
              <a:t>Click to edit Master title style</a:t>
            </a:r>
            <a:endParaRPr lang="en-GB" dirty="0"/>
          </a:p>
        </p:txBody>
      </p:sp>
      <p:sp>
        <p:nvSpPr>
          <p:cNvPr id="5" name="Footer Placeholder 4"/>
          <p:cNvSpPr>
            <a:spLocks noGrp="1"/>
          </p:cNvSpPr>
          <p:nvPr>
            <p:ph type="ftr" sz="quarter" idx="13"/>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530865806"/>
      </p:ext>
    </p:extLst>
  </p:cSld>
  <p:clrMapOvr>
    <a:masterClrMapping/>
  </p:clrMapOvr>
  <p:hf hdr="0" ft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Light Blue">
    <p:bg>
      <p:bgPr>
        <a:solidFill>
          <a:srgbClr val="E5F2FF"/>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5"/>
          <p:cNvSpPr>
            <a:spLocks noGrp="1"/>
          </p:cNvSpPr>
          <p:nvPr>
            <p:ph type="sldNum" sz="quarter" idx="12"/>
          </p:nvPr>
        </p:nvSpPr>
        <p:spPr/>
        <p:txBody>
          <a:bodyPr/>
          <a:lstStyle>
            <a:lvl1pPr>
              <a:defRPr>
                <a:solidFill>
                  <a:schemeClr val="accent1"/>
                </a:solidFill>
              </a:defRPr>
            </a:lvl1pPr>
          </a:lstStyle>
          <a:p>
            <a:fld id="{D14BCCD3-0010-4FBA-B965-2126ADC31932}" type="slidenum">
              <a:rPr lang="en-GB" smtClean="0"/>
              <a:pPr/>
              <a:t>‹#›</a:t>
            </a:fld>
            <a:endParaRPr lang="en-GB" dirty="0"/>
          </a:p>
        </p:txBody>
      </p:sp>
      <p:sp>
        <p:nvSpPr>
          <p:cNvPr id="4" name="Title 3"/>
          <p:cNvSpPr>
            <a:spLocks noGrp="1"/>
          </p:cNvSpPr>
          <p:nvPr>
            <p:ph type="title"/>
          </p:nvPr>
        </p:nvSpPr>
        <p:spPr/>
        <p:txBody>
          <a:bodyPr/>
          <a:lstStyle/>
          <a:p>
            <a:r>
              <a:rPr lang="en-GB"/>
              <a:t>Click to edit Master title style</a:t>
            </a:r>
            <a:endParaRPr lang="en-GB" dirty="0"/>
          </a:p>
        </p:txBody>
      </p:sp>
      <p:sp>
        <p:nvSpPr>
          <p:cNvPr id="5" name="Footer Placeholder 4"/>
          <p:cNvSpPr>
            <a:spLocks noGrp="1"/>
          </p:cNvSpPr>
          <p:nvPr>
            <p:ph type="ftr" sz="quarter" idx="13"/>
          </p:nvPr>
        </p:nvSpPr>
        <p:spPr/>
        <p:txBody>
          <a:bodyPr/>
          <a:lstStyle>
            <a:lvl1pPr>
              <a:defRPr>
                <a:solidFill>
                  <a:schemeClr val="accent1"/>
                </a:solidFill>
              </a:defRPr>
            </a:lvl1pPr>
          </a:lstStyle>
          <a:p>
            <a:endParaRPr lang="en-GB" dirty="0"/>
          </a:p>
        </p:txBody>
      </p:sp>
    </p:spTree>
    <p:extLst>
      <p:ext uri="{BB962C8B-B14F-4D97-AF65-F5344CB8AC3E}">
        <p14:creationId xmlns:p14="http://schemas.microsoft.com/office/powerpoint/2010/main" val="1176348108"/>
      </p:ext>
    </p:extLst>
  </p:cSld>
  <p:clrMapOvr>
    <a:masterClrMapping/>
  </p:clrMapOvr>
  <p:hf hdr="0" ft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oleObject" Target="../embeddings/oleObject1.bin"/><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2.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7999" y="360083"/>
            <a:ext cx="7200000" cy="720167"/>
          </a:xfrm>
          <a:prstGeom prst="rect">
            <a:avLst/>
          </a:prstGeom>
        </p:spPr>
        <p:txBody>
          <a:bodyPr vert="horz" lIns="0" tIns="0" rIns="0" bIns="0" rtlCol="0" anchor="b" anchorCtr="0">
            <a:noAutofit/>
          </a:bodyPr>
          <a:lstStyle/>
          <a:p>
            <a:r>
              <a:rPr lang="en-GB"/>
              <a:t>Click to edit Master title style</a:t>
            </a:r>
            <a:endParaRPr lang="en-GB" dirty="0"/>
          </a:p>
        </p:txBody>
      </p:sp>
      <p:sp>
        <p:nvSpPr>
          <p:cNvPr id="3" name="Text Placeholder 2"/>
          <p:cNvSpPr>
            <a:spLocks noGrp="1"/>
          </p:cNvSpPr>
          <p:nvPr>
            <p:ph type="body" idx="1"/>
          </p:nvPr>
        </p:nvSpPr>
        <p:spPr>
          <a:xfrm>
            <a:off x="647999" y="1332000"/>
            <a:ext cx="10908000" cy="4428000"/>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5"/>
          <p:cNvSpPr>
            <a:spLocks noGrp="1"/>
          </p:cNvSpPr>
          <p:nvPr>
            <p:ph type="sldNum" sz="quarter" idx="4"/>
          </p:nvPr>
        </p:nvSpPr>
        <p:spPr>
          <a:xfrm>
            <a:off x="648000" y="6375018"/>
            <a:ext cx="324000" cy="144033"/>
          </a:xfrm>
          <a:prstGeom prst="rect">
            <a:avLst/>
          </a:prstGeom>
        </p:spPr>
        <p:txBody>
          <a:bodyPr vert="horz" lIns="0" tIns="0" rIns="0" bIns="0" rtlCol="0" anchor="ctr"/>
          <a:lstStyle>
            <a:lvl1pPr algn="l">
              <a:defRPr sz="900">
                <a:solidFill>
                  <a:srgbClr val="8B8A8D"/>
                </a:solidFill>
              </a:defRPr>
            </a:lvl1pPr>
          </a:lstStyle>
          <a:p>
            <a:fld id="{D14BCCD3-0010-4FBA-B965-2126ADC31932}" type="slidenum">
              <a:rPr lang="en-GB" smtClean="0"/>
              <a:pPr/>
              <a:t>‹#›</a:t>
            </a:fld>
            <a:endParaRPr lang="en-GB" dirty="0"/>
          </a:p>
        </p:txBody>
      </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900" cap="all" baseline="0">
                <a:solidFill>
                  <a:srgbClr val="8B8A8D"/>
                </a:solidFill>
              </a:defRPr>
            </a:lvl1pPr>
          </a:lstStyle>
          <a:p>
            <a:endParaRPr lang="en-GB" dirty="0"/>
          </a:p>
        </p:txBody>
      </p:sp>
      <p:sp>
        <p:nvSpPr>
          <p:cNvPr id="30" name="Logotype, static">
            <a:extLst>
              <a:ext uri="{FF2B5EF4-FFF2-40B4-BE49-F238E27FC236}">
                <a16:creationId xmlns:a16="http://schemas.microsoft.com/office/drawing/2014/main" id="{4CDFEBFF-56BA-BA38-B9E3-B6FC44861925}"/>
              </a:ext>
            </a:extLst>
          </p:cNvPr>
          <p:cNvSpPr>
            <a:spLocks noChangeAspect="1"/>
          </p:cNvSpPr>
          <p:nvPr userDrawn="1"/>
        </p:nvSpPr>
        <p:spPr>
          <a:xfrm>
            <a:off x="10689559" y="6389370"/>
            <a:ext cx="864000" cy="180067"/>
          </a:xfrm>
          <a:custGeom>
            <a:avLst/>
            <a:gdLst>
              <a:gd name="connsiteX0" fmla="*/ 1189292 w 1295686"/>
              <a:gd name="connsiteY0" fmla="*/ 102299 h 270035"/>
              <a:gd name="connsiteX1" fmla="*/ 1128522 w 1295686"/>
              <a:gd name="connsiteY1" fmla="*/ 170593 h 270035"/>
              <a:gd name="connsiteX2" fmla="*/ 1181576 w 1295686"/>
              <a:gd name="connsiteY2" fmla="*/ 224219 h 270035"/>
              <a:gd name="connsiteX3" fmla="*/ 1250537 w 1295686"/>
              <a:gd name="connsiteY3" fmla="*/ 166688 h 270035"/>
              <a:gd name="connsiteX4" fmla="*/ 1250442 w 1295686"/>
              <a:gd name="connsiteY4" fmla="*/ 166688 h 270035"/>
              <a:gd name="connsiteX5" fmla="*/ 1250442 w 1295686"/>
              <a:gd name="connsiteY5" fmla="*/ 160306 h 270035"/>
              <a:gd name="connsiteX6" fmla="*/ 1189292 w 1295686"/>
              <a:gd name="connsiteY6" fmla="*/ 102299 h 270035"/>
              <a:gd name="connsiteX7" fmla="*/ 717519 w 1295686"/>
              <a:gd name="connsiteY7" fmla="*/ 102299 h 270035"/>
              <a:gd name="connsiteX8" fmla="*/ 656749 w 1295686"/>
              <a:gd name="connsiteY8" fmla="*/ 170593 h 270035"/>
              <a:gd name="connsiteX9" fmla="*/ 709803 w 1295686"/>
              <a:gd name="connsiteY9" fmla="*/ 224218 h 270035"/>
              <a:gd name="connsiteX10" fmla="*/ 778764 w 1295686"/>
              <a:gd name="connsiteY10" fmla="*/ 166687 h 270035"/>
              <a:gd name="connsiteX11" fmla="*/ 778669 w 1295686"/>
              <a:gd name="connsiteY11" fmla="*/ 166687 h 270035"/>
              <a:gd name="connsiteX12" fmla="*/ 778669 w 1295686"/>
              <a:gd name="connsiteY12" fmla="*/ 160306 h 270035"/>
              <a:gd name="connsiteX13" fmla="*/ 717519 w 1295686"/>
              <a:gd name="connsiteY13" fmla="*/ 102299 h 270035"/>
              <a:gd name="connsiteX14" fmla="*/ 366808 w 1295686"/>
              <a:gd name="connsiteY14" fmla="*/ 102299 h 270035"/>
              <a:gd name="connsiteX15" fmla="*/ 305657 w 1295686"/>
              <a:gd name="connsiteY15" fmla="*/ 163449 h 270035"/>
              <a:gd name="connsiteX16" fmla="*/ 366808 w 1295686"/>
              <a:gd name="connsiteY16" fmla="*/ 224600 h 270035"/>
              <a:gd name="connsiteX17" fmla="*/ 427958 w 1295686"/>
              <a:gd name="connsiteY17" fmla="*/ 163449 h 270035"/>
              <a:gd name="connsiteX18" fmla="*/ 366808 w 1295686"/>
              <a:gd name="connsiteY18" fmla="*/ 102299 h 270035"/>
              <a:gd name="connsiteX19" fmla="*/ 962039 w 1295686"/>
              <a:gd name="connsiteY19" fmla="*/ 96385 h 270035"/>
              <a:gd name="connsiteX20" fmla="*/ 938499 w 1295686"/>
              <a:gd name="connsiteY20" fmla="*/ 100585 h 270035"/>
              <a:gd name="connsiteX21" fmla="*/ 896779 w 1295686"/>
              <a:gd name="connsiteY21" fmla="*/ 159068 h 270035"/>
              <a:gd name="connsiteX22" fmla="*/ 896779 w 1295686"/>
              <a:gd name="connsiteY22" fmla="*/ 159164 h 270035"/>
              <a:gd name="connsiteX23" fmla="*/ 1011746 w 1295686"/>
              <a:gd name="connsiteY23" fmla="*/ 127541 h 270035"/>
              <a:gd name="connsiteX24" fmla="*/ 962039 w 1295686"/>
              <a:gd name="connsiteY24" fmla="*/ 96385 h 270035"/>
              <a:gd name="connsiteX25" fmla="*/ 1181005 w 1295686"/>
              <a:gd name="connsiteY25" fmla="*/ 57436 h 270035"/>
              <a:gd name="connsiteX26" fmla="*/ 1295686 w 1295686"/>
              <a:gd name="connsiteY26" fmla="*/ 165354 h 270035"/>
              <a:gd name="connsiteX27" fmla="*/ 1295686 w 1295686"/>
              <a:gd name="connsiteY27" fmla="*/ 266700 h 270035"/>
              <a:gd name="connsiteX28" fmla="*/ 1254538 w 1295686"/>
              <a:gd name="connsiteY28" fmla="*/ 266700 h 270035"/>
              <a:gd name="connsiteX29" fmla="*/ 1254538 w 1295686"/>
              <a:gd name="connsiteY29" fmla="*/ 235458 h 270035"/>
              <a:gd name="connsiteX30" fmla="*/ 1189292 w 1295686"/>
              <a:gd name="connsiteY30" fmla="*/ 269558 h 270035"/>
              <a:gd name="connsiteX31" fmla="*/ 1083278 w 1295686"/>
              <a:gd name="connsiteY31" fmla="*/ 156591 h 270035"/>
              <a:gd name="connsiteX32" fmla="*/ 1181005 w 1295686"/>
              <a:gd name="connsiteY32" fmla="*/ 57531 h 270035"/>
              <a:gd name="connsiteX33" fmla="*/ 956311 w 1295686"/>
              <a:gd name="connsiteY33" fmla="*/ 57246 h 270035"/>
              <a:gd name="connsiteX34" fmla="*/ 956311 w 1295686"/>
              <a:gd name="connsiteY34" fmla="*/ 57341 h 270035"/>
              <a:gd name="connsiteX35" fmla="*/ 1064134 w 1295686"/>
              <a:gd name="connsiteY35" fmla="*/ 151924 h 270035"/>
              <a:gd name="connsiteX36" fmla="*/ 904876 w 1295686"/>
              <a:gd name="connsiteY36" fmla="*/ 195359 h 270035"/>
              <a:gd name="connsiteX37" fmla="*/ 970503 w 1295686"/>
              <a:gd name="connsiteY37" fmla="*/ 227172 h 270035"/>
              <a:gd name="connsiteX38" fmla="*/ 1016413 w 1295686"/>
              <a:gd name="connsiteY38" fmla="*/ 191930 h 270035"/>
              <a:gd name="connsiteX39" fmla="*/ 1057371 w 1295686"/>
              <a:gd name="connsiteY39" fmla="*/ 204121 h 270035"/>
              <a:gd name="connsiteX40" fmla="*/ 958787 w 1295686"/>
              <a:gd name="connsiteY40" fmla="*/ 270035 h 270035"/>
              <a:gd name="connsiteX41" fmla="*/ 852488 w 1295686"/>
              <a:gd name="connsiteY41" fmla="*/ 164593 h 270035"/>
              <a:gd name="connsiteX42" fmla="*/ 956311 w 1295686"/>
              <a:gd name="connsiteY42" fmla="*/ 57246 h 270035"/>
              <a:gd name="connsiteX43" fmla="*/ 366903 w 1295686"/>
              <a:gd name="connsiteY43" fmla="*/ 57055 h 270035"/>
              <a:gd name="connsiteX44" fmla="*/ 473298 w 1295686"/>
              <a:gd name="connsiteY44" fmla="*/ 163449 h 270035"/>
              <a:gd name="connsiteX45" fmla="*/ 366903 w 1295686"/>
              <a:gd name="connsiteY45" fmla="*/ 269844 h 270035"/>
              <a:gd name="connsiteX46" fmla="*/ 260509 w 1295686"/>
              <a:gd name="connsiteY46" fmla="*/ 163449 h 270035"/>
              <a:gd name="connsiteX47" fmla="*/ 366903 w 1295686"/>
              <a:gd name="connsiteY47" fmla="*/ 57055 h 270035"/>
              <a:gd name="connsiteX48" fmla="*/ 605885 w 1295686"/>
              <a:gd name="connsiteY48" fmla="*/ 56769 h 270035"/>
              <a:gd name="connsiteX49" fmla="*/ 605885 w 1295686"/>
              <a:gd name="connsiteY49" fmla="*/ 100393 h 270035"/>
              <a:gd name="connsiteX50" fmla="*/ 605981 w 1295686"/>
              <a:gd name="connsiteY50" fmla="*/ 100393 h 270035"/>
              <a:gd name="connsiteX51" fmla="*/ 547307 w 1295686"/>
              <a:gd name="connsiteY51" fmla="*/ 167164 h 270035"/>
              <a:gd name="connsiteX52" fmla="*/ 547402 w 1295686"/>
              <a:gd name="connsiteY52" fmla="*/ 266795 h 270035"/>
              <a:gd name="connsiteX53" fmla="*/ 500920 w 1295686"/>
              <a:gd name="connsiteY53" fmla="*/ 266795 h 270035"/>
              <a:gd name="connsiteX54" fmla="*/ 500920 w 1295686"/>
              <a:gd name="connsiteY54" fmla="*/ 63722 h 270035"/>
              <a:gd name="connsiteX55" fmla="*/ 546164 w 1295686"/>
              <a:gd name="connsiteY55" fmla="*/ 63722 h 270035"/>
              <a:gd name="connsiteX56" fmla="*/ 546164 w 1295686"/>
              <a:gd name="connsiteY56" fmla="*/ 87154 h 270035"/>
              <a:gd name="connsiteX57" fmla="*/ 605885 w 1295686"/>
              <a:gd name="connsiteY57" fmla="*/ 56769 h 270035"/>
              <a:gd name="connsiteX58" fmla="*/ 0 w 1295686"/>
              <a:gd name="connsiteY58" fmla="*/ 21622 h 270035"/>
              <a:gd name="connsiteX59" fmla="*/ 47339 w 1295686"/>
              <a:gd name="connsiteY59" fmla="*/ 21622 h 270035"/>
              <a:gd name="connsiteX60" fmla="*/ 186214 w 1295686"/>
              <a:gd name="connsiteY60" fmla="*/ 185166 h 270035"/>
              <a:gd name="connsiteX61" fmla="*/ 186214 w 1295686"/>
              <a:gd name="connsiteY61" fmla="*/ 21622 h 270035"/>
              <a:gd name="connsiteX62" fmla="*/ 233077 w 1295686"/>
              <a:gd name="connsiteY62" fmla="*/ 21622 h 270035"/>
              <a:gd name="connsiteX63" fmla="*/ 232982 w 1295686"/>
              <a:gd name="connsiteY63" fmla="*/ 266700 h 270035"/>
              <a:gd name="connsiteX64" fmla="*/ 189548 w 1295686"/>
              <a:gd name="connsiteY64" fmla="*/ 266700 h 270035"/>
              <a:gd name="connsiteX65" fmla="*/ 48959 w 1295686"/>
              <a:gd name="connsiteY65" fmla="*/ 102680 h 270035"/>
              <a:gd name="connsiteX66" fmla="*/ 48959 w 1295686"/>
              <a:gd name="connsiteY66" fmla="*/ 266414 h 270035"/>
              <a:gd name="connsiteX67" fmla="*/ 0 w 1295686"/>
              <a:gd name="connsiteY67" fmla="*/ 266414 h 270035"/>
              <a:gd name="connsiteX68" fmla="*/ 780098 w 1295686"/>
              <a:gd name="connsiteY68" fmla="*/ 0 h 270035"/>
              <a:gd name="connsiteX69" fmla="*/ 823722 w 1295686"/>
              <a:gd name="connsiteY69" fmla="*/ 0 h 270035"/>
              <a:gd name="connsiteX70" fmla="*/ 823722 w 1295686"/>
              <a:gd name="connsiteY70" fmla="*/ 161449 h 270035"/>
              <a:gd name="connsiteX71" fmla="*/ 823722 w 1295686"/>
              <a:gd name="connsiteY71" fmla="*/ 163449 h 270035"/>
              <a:gd name="connsiteX72" fmla="*/ 823722 w 1295686"/>
              <a:gd name="connsiteY72" fmla="*/ 165449 h 270035"/>
              <a:gd name="connsiteX73" fmla="*/ 823722 w 1295686"/>
              <a:gd name="connsiteY73" fmla="*/ 266795 h 270035"/>
              <a:gd name="connsiteX74" fmla="*/ 782765 w 1295686"/>
              <a:gd name="connsiteY74" fmla="*/ 266795 h 270035"/>
              <a:gd name="connsiteX75" fmla="*/ 782765 w 1295686"/>
              <a:gd name="connsiteY75" fmla="*/ 239649 h 270035"/>
              <a:gd name="connsiteX76" fmla="*/ 717519 w 1295686"/>
              <a:gd name="connsiteY76" fmla="*/ 269748 h 270035"/>
              <a:gd name="connsiteX77" fmla="*/ 611505 w 1295686"/>
              <a:gd name="connsiteY77" fmla="*/ 156591 h 270035"/>
              <a:gd name="connsiteX78" fmla="*/ 709232 w 1295686"/>
              <a:gd name="connsiteY78" fmla="*/ 57531 h 270035"/>
              <a:gd name="connsiteX79" fmla="*/ 780098 w 1295686"/>
              <a:gd name="connsiteY79" fmla="*/ 79819 h 270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295686" h="270035">
                <a:moveTo>
                  <a:pt x="1189292" y="102299"/>
                </a:moveTo>
                <a:cubicBezTo>
                  <a:pt x="1153192" y="102299"/>
                  <a:pt x="1124426" y="133636"/>
                  <a:pt x="1128522" y="170593"/>
                </a:cubicBezTo>
                <a:cubicBezTo>
                  <a:pt x="1131665" y="198215"/>
                  <a:pt x="1153859" y="220790"/>
                  <a:pt x="1181576" y="224219"/>
                </a:cubicBezTo>
                <a:cubicBezTo>
                  <a:pt x="1217771" y="228695"/>
                  <a:pt x="1248728" y="201549"/>
                  <a:pt x="1250537" y="166688"/>
                </a:cubicBezTo>
                <a:lnTo>
                  <a:pt x="1250442" y="166688"/>
                </a:lnTo>
                <a:lnTo>
                  <a:pt x="1250442" y="160306"/>
                </a:lnTo>
                <a:cubicBezTo>
                  <a:pt x="1248728" y="128016"/>
                  <a:pt x="1222058" y="102299"/>
                  <a:pt x="1189292" y="102299"/>
                </a:cubicBezTo>
                <a:close/>
                <a:moveTo>
                  <a:pt x="717519" y="102299"/>
                </a:moveTo>
                <a:cubicBezTo>
                  <a:pt x="681419" y="102299"/>
                  <a:pt x="652653" y="133636"/>
                  <a:pt x="656749" y="170593"/>
                </a:cubicBezTo>
                <a:cubicBezTo>
                  <a:pt x="659892" y="198215"/>
                  <a:pt x="682086" y="220789"/>
                  <a:pt x="709803" y="224218"/>
                </a:cubicBezTo>
                <a:cubicBezTo>
                  <a:pt x="745998" y="228695"/>
                  <a:pt x="776955" y="201549"/>
                  <a:pt x="778764" y="166687"/>
                </a:cubicBezTo>
                <a:lnTo>
                  <a:pt x="778669" y="166687"/>
                </a:lnTo>
                <a:lnTo>
                  <a:pt x="778669" y="160306"/>
                </a:lnTo>
                <a:cubicBezTo>
                  <a:pt x="776955" y="128016"/>
                  <a:pt x="750285" y="102299"/>
                  <a:pt x="717519" y="102299"/>
                </a:cubicBezTo>
                <a:close/>
                <a:moveTo>
                  <a:pt x="366808" y="102299"/>
                </a:moveTo>
                <a:cubicBezTo>
                  <a:pt x="333089" y="102299"/>
                  <a:pt x="305657" y="129731"/>
                  <a:pt x="305657" y="163449"/>
                </a:cubicBezTo>
                <a:cubicBezTo>
                  <a:pt x="305657" y="197168"/>
                  <a:pt x="332994" y="224600"/>
                  <a:pt x="366808" y="224600"/>
                </a:cubicBezTo>
                <a:cubicBezTo>
                  <a:pt x="400527" y="224600"/>
                  <a:pt x="427958" y="197168"/>
                  <a:pt x="427958" y="163449"/>
                </a:cubicBezTo>
                <a:cubicBezTo>
                  <a:pt x="427958" y="129731"/>
                  <a:pt x="400527" y="102299"/>
                  <a:pt x="366808" y="102299"/>
                </a:cubicBezTo>
                <a:close/>
                <a:moveTo>
                  <a:pt x="962039" y="96385"/>
                </a:moveTo>
                <a:cubicBezTo>
                  <a:pt x="954578" y="96227"/>
                  <a:pt x="946666" y="97513"/>
                  <a:pt x="938499" y="100585"/>
                </a:cubicBezTo>
                <a:cubicBezTo>
                  <a:pt x="909733" y="111348"/>
                  <a:pt x="896779" y="136875"/>
                  <a:pt x="896779" y="159068"/>
                </a:cubicBezTo>
                <a:lnTo>
                  <a:pt x="896779" y="159164"/>
                </a:lnTo>
                <a:lnTo>
                  <a:pt x="1011746" y="127541"/>
                </a:lnTo>
                <a:cubicBezTo>
                  <a:pt x="1002744" y="110324"/>
                  <a:pt x="984421" y="96858"/>
                  <a:pt x="962039" y="96385"/>
                </a:cubicBezTo>
                <a:close/>
                <a:moveTo>
                  <a:pt x="1181005" y="57436"/>
                </a:moveTo>
                <a:cubicBezTo>
                  <a:pt x="1242060" y="52673"/>
                  <a:pt x="1295686" y="99346"/>
                  <a:pt x="1295686" y="165354"/>
                </a:cubicBezTo>
                <a:lnTo>
                  <a:pt x="1295686" y="266700"/>
                </a:lnTo>
                <a:lnTo>
                  <a:pt x="1254538" y="266700"/>
                </a:lnTo>
                <a:lnTo>
                  <a:pt x="1254538" y="235458"/>
                </a:lnTo>
                <a:cubicBezTo>
                  <a:pt x="1241108" y="258604"/>
                  <a:pt x="1211295" y="269558"/>
                  <a:pt x="1189292" y="269558"/>
                </a:cubicBezTo>
                <a:cubicBezTo>
                  <a:pt x="1128332" y="269558"/>
                  <a:pt x="1079373" y="218408"/>
                  <a:pt x="1083278" y="156591"/>
                </a:cubicBezTo>
                <a:cubicBezTo>
                  <a:pt x="1086612" y="104299"/>
                  <a:pt x="1128236" y="61627"/>
                  <a:pt x="1181005" y="57531"/>
                </a:cubicBezTo>
                <a:close/>
                <a:moveTo>
                  <a:pt x="956311" y="57246"/>
                </a:moveTo>
                <a:lnTo>
                  <a:pt x="956311" y="57341"/>
                </a:lnTo>
                <a:cubicBezTo>
                  <a:pt x="1023557" y="55436"/>
                  <a:pt x="1059466" y="111062"/>
                  <a:pt x="1064134" y="151924"/>
                </a:cubicBezTo>
                <a:lnTo>
                  <a:pt x="904876" y="195359"/>
                </a:lnTo>
                <a:cubicBezTo>
                  <a:pt x="915258" y="214980"/>
                  <a:pt x="941737" y="232506"/>
                  <a:pt x="970503" y="227172"/>
                </a:cubicBezTo>
                <a:cubicBezTo>
                  <a:pt x="991077" y="223267"/>
                  <a:pt x="1008984" y="208693"/>
                  <a:pt x="1016413" y="191930"/>
                </a:cubicBezTo>
                <a:lnTo>
                  <a:pt x="1057371" y="204121"/>
                </a:lnTo>
                <a:cubicBezTo>
                  <a:pt x="1041274" y="244889"/>
                  <a:pt x="1000507" y="270035"/>
                  <a:pt x="958787" y="270035"/>
                </a:cubicBezTo>
                <a:cubicBezTo>
                  <a:pt x="898970" y="270035"/>
                  <a:pt x="852488" y="222029"/>
                  <a:pt x="852488" y="164593"/>
                </a:cubicBezTo>
                <a:cubicBezTo>
                  <a:pt x="852488" y="102299"/>
                  <a:pt x="900494" y="58770"/>
                  <a:pt x="956311" y="57246"/>
                </a:cubicBezTo>
                <a:close/>
                <a:moveTo>
                  <a:pt x="366903" y="57055"/>
                </a:moveTo>
                <a:cubicBezTo>
                  <a:pt x="425673" y="57055"/>
                  <a:pt x="473298" y="104680"/>
                  <a:pt x="473298" y="163449"/>
                </a:cubicBezTo>
                <a:cubicBezTo>
                  <a:pt x="473298" y="222219"/>
                  <a:pt x="425673" y="269844"/>
                  <a:pt x="366903" y="269844"/>
                </a:cubicBezTo>
                <a:cubicBezTo>
                  <a:pt x="308134" y="269844"/>
                  <a:pt x="260509" y="222219"/>
                  <a:pt x="260509" y="163449"/>
                </a:cubicBezTo>
                <a:cubicBezTo>
                  <a:pt x="260509" y="104680"/>
                  <a:pt x="308134" y="57055"/>
                  <a:pt x="366903" y="57055"/>
                </a:cubicBezTo>
                <a:close/>
                <a:moveTo>
                  <a:pt x="605885" y="56769"/>
                </a:moveTo>
                <a:lnTo>
                  <a:pt x="605885" y="100393"/>
                </a:lnTo>
                <a:lnTo>
                  <a:pt x="605981" y="100393"/>
                </a:lnTo>
                <a:cubicBezTo>
                  <a:pt x="574453" y="102013"/>
                  <a:pt x="547307" y="120301"/>
                  <a:pt x="547307" y="167164"/>
                </a:cubicBezTo>
                <a:cubicBezTo>
                  <a:pt x="547307" y="205073"/>
                  <a:pt x="547402" y="204025"/>
                  <a:pt x="547402" y="266795"/>
                </a:cubicBezTo>
                <a:lnTo>
                  <a:pt x="500920" y="266795"/>
                </a:lnTo>
                <a:lnTo>
                  <a:pt x="500920" y="63722"/>
                </a:lnTo>
                <a:lnTo>
                  <a:pt x="546164" y="63722"/>
                </a:lnTo>
                <a:lnTo>
                  <a:pt x="546164" y="87154"/>
                </a:lnTo>
                <a:cubicBezTo>
                  <a:pt x="552069" y="76295"/>
                  <a:pt x="566166" y="56769"/>
                  <a:pt x="605885" y="56769"/>
                </a:cubicBezTo>
                <a:close/>
                <a:moveTo>
                  <a:pt x="0" y="21622"/>
                </a:moveTo>
                <a:lnTo>
                  <a:pt x="47339" y="21622"/>
                </a:lnTo>
                <a:lnTo>
                  <a:pt x="186214" y="185166"/>
                </a:lnTo>
                <a:lnTo>
                  <a:pt x="186214" y="21622"/>
                </a:lnTo>
                <a:lnTo>
                  <a:pt x="233077" y="21622"/>
                </a:lnTo>
                <a:lnTo>
                  <a:pt x="232982" y="266700"/>
                </a:lnTo>
                <a:lnTo>
                  <a:pt x="189548" y="266700"/>
                </a:lnTo>
                <a:lnTo>
                  <a:pt x="48959" y="102680"/>
                </a:lnTo>
                <a:lnTo>
                  <a:pt x="48959" y="266414"/>
                </a:lnTo>
                <a:lnTo>
                  <a:pt x="0" y="266414"/>
                </a:lnTo>
                <a:close/>
                <a:moveTo>
                  <a:pt x="780098" y="0"/>
                </a:moveTo>
                <a:lnTo>
                  <a:pt x="823722" y="0"/>
                </a:lnTo>
                <a:lnTo>
                  <a:pt x="823722" y="161449"/>
                </a:lnTo>
                <a:cubicBezTo>
                  <a:pt x="823722" y="162115"/>
                  <a:pt x="823722" y="162782"/>
                  <a:pt x="823722" y="163449"/>
                </a:cubicBezTo>
                <a:cubicBezTo>
                  <a:pt x="823722" y="164116"/>
                  <a:pt x="823722" y="164783"/>
                  <a:pt x="823722" y="165449"/>
                </a:cubicBezTo>
                <a:lnTo>
                  <a:pt x="823722" y="266795"/>
                </a:lnTo>
                <a:cubicBezTo>
                  <a:pt x="823722" y="266795"/>
                  <a:pt x="782765" y="266795"/>
                  <a:pt x="782765" y="266795"/>
                </a:cubicBezTo>
                <a:lnTo>
                  <a:pt x="782765" y="239649"/>
                </a:lnTo>
                <a:cubicBezTo>
                  <a:pt x="771906" y="258889"/>
                  <a:pt x="740283" y="269748"/>
                  <a:pt x="717519" y="269748"/>
                </a:cubicBezTo>
                <a:cubicBezTo>
                  <a:pt x="656559" y="269748"/>
                  <a:pt x="607600" y="218408"/>
                  <a:pt x="611505" y="156591"/>
                </a:cubicBezTo>
                <a:cubicBezTo>
                  <a:pt x="614839" y="104299"/>
                  <a:pt x="656940" y="61722"/>
                  <a:pt x="709232" y="57531"/>
                </a:cubicBezTo>
                <a:cubicBezTo>
                  <a:pt x="737235" y="55245"/>
                  <a:pt x="769716" y="66104"/>
                  <a:pt x="780098" y="79819"/>
                </a:cubicBezTo>
                <a:close/>
              </a:path>
            </a:pathLst>
          </a:custGeom>
          <a:solidFill>
            <a:srgbClr val="0000A0"/>
          </a:solidFill>
          <a:ln w="9525" cap="flat">
            <a:noFill/>
            <a:prstDash val="solid"/>
            <a:miter/>
          </a:ln>
        </p:spPr>
        <p:txBody>
          <a:bodyPr rtlCol="0" anchor="ctr"/>
          <a:lstStyle/>
          <a:p>
            <a:endParaRPr lang="en-GB" dirty="0"/>
          </a:p>
        </p:txBody>
      </p:sp>
      <p:sp>
        <p:nvSpPr>
          <p:cNvPr id="5" name="xxLanguageTextBox">
            <a:extLst>
              <a:ext uri="{FF2B5EF4-FFF2-40B4-BE49-F238E27FC236}">
                <a16:creationId xmlns:a16="http://schemas.microsoft.com/office/drawing/2014/main" id="{34E39CBF-BB67-9E50-B172-C1A4D049FC13}"/>
              </a:ext>
            </a:extLst>
          </p:cNvPr>
          <p:cNvSpPr/>
          <p:nvPr userDrawn="1">
            <p:custDataLst>
              <p:tags r:id="rId27"/>
            </p:custDataLst>
          </p:nvPr>
        </p:nvSpPr>
        <p:spPr>
          <a:xfrm>
            <a:off x="0" y="0"/>
            <a:ext cx="12700"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Tree>
    <p:extLst>
      <p:ext uri="{BB962C8B-B14F-4D97-AF65-F5344CB8AC3E}">
        <p14:creationId xmlns:p14="http://schemas.microsoft.com/office/powerpoint/2010/main" val="3736556918"/>
      </p:ext>
    </p:extLst>
  </p:cSld>
  <p:clrMap bg1="lt1" tx1="dk1" bg2="lt2" tx2="dk2" accent1="accent1" accent2="accent2" accent3="accent3" accent4="accent4" accent5="accent5" accent6="accent6" hlink="hlink" folHlink="folHlink"/>
  <p:sldLayoutIdLst>
    <p:sldLayoutId id="2147483649" r:id="rId1"/>
    <p:sldLayoutId id="2147483753" r:id="rId2"/>
    <p:sldLayoutId id="2147483755" r:id="rId3"/>
    <p:sldLayoutId id="2147483730" r:id="rId4"/>
    <p:sldLayoutId id="2147483752" r:id="rId5"/>
    <p:sldLayoutId id="2147483728" r:id="rId6"/>
    <p:sldLayoutId id="2147483748" r:id="rId7"/>
    <p:sldLayoutId id="2147483650" r:id="rId8"/>
    <p:sldLayoutId id="2147483749" r:id="rId9"/>
    <p:sldLayoutId id="2147483750" r:id="rId10"/>
    <p:sldLayoutId id="2147483737" r:id="rId11"/>
    <p:sldLayoutId id="2147483652" r:id="rId12"/>
    <p:sldLayoutId id="2147483738" r:id="rId13"/>
    <p:sldLayoutId id="2147483663" r:id="rId14"/>
    <p:sldLayoutId id="2147483655" r:id="rId15"/>
    <p:sldLayoutId id="2147483751" r:id="rId16"/>
    <p:sldLayoutId id="2147483742" r:id="rId17"/>
    <p:sldLayoutId id="2147483660" r:id="rId18"/>
    <p:sldLayoutId id="2147483724" r:id="rId19"/>
    <p:sldLayoutId id="2147483725" r:id="rId20"/>
    <p:sldLayoutId id="2147483735" r:id="rId21"/>
    <p:sldLayoutId id="2147483743" r:id="rId22"/>
    <p:sldLayoutId id="2147483741" r:id="rId23"/>
    <p:sldLayoutId id="2147483747" r:id="rId24"/>
    <p:sldLayoutId id="2147483733" r:id="rId25"/>
  </p:sldLayoutIdLst>
  <p:hf hdr="0" ftr="0" dt="0"/>
  <p:txStyles>
    <p:titleStyle>
      <a:lvl1pPr algn="l" defTabSz="1088776" rtl="0" eaLnBrk="1" latinLnBrk="0" hangingPunct="1">
        <a:spcBef>
          <a:spcPct val="0"/>
        </a:spcBef>
        <a:buNone/>
        <a:defRPr sz="2000" b="1" kern="1200">
          <a:solidFill>
            <a:schemeClr val="accent1"/>
          </a:solidFill>
          <a:latin typeface="+mj-lt"/>
          <a:ea typeface="+mj-ea"/>
          <a:cs typeface="+mj-cs"/>
        </a:defRPr>
      </a:lvl1pPr>
    </p:titleStyle>
    <p:bodyStyle>
      <a:lvl1pPr marL="215487" indent="-215487" algn="l" defTabSz="1088776" rtl="0" eaLnBrk="1" latinLnBrk="0" hangingPunct="1">
        <a:spcBef>
          <a:spcPts val="1200"/>
        </a:spcBef>
        <a:buFont typeface="Arial" pitchFamily="34" charset="0"/>
        <a:buChar char="•"/>
        <a:defRPr sz="1600" kern="1200">
          <a:solidFill>
            <a:schemeClr val="accent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accent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accent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accent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accent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408" userDrawn="1">
          <p15:clr>
            <a:srgbClr val="F26B43"/>
          </p15:clr>
        </p15:guide>
        <p15:guide id="4" pos="7284" userDrawn="1">
          <p15:clr>
            <a:srgbClr val="F26B43"/>
          </p15:clr>
        </p15:guide>
        <p15:guide id="5" orient="horz" pos="224" userDrawn="1">
          <p15:clr>
            <a:srgbClr val="F26B43"/>
          </p15:clr>
        </p15:guide>
        <p15:guide id="6" orient="horz" pos="686" userDrawn="1">
          <p15:clr>
            <a:srgbClr val="F26B43"/>
          </p15:clr>
        </p15:guide>
        <p15:guide id="7" orient="horz" pos="836" userDrawn="1">
          <p15:clr>
            <a:srgbClr val="F26B43"/>
          </p15:clr>
        </p15:guide>
        <p15:guide id="8" orient="horz" pos="36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4A3DCCF-842A-8B94-2798-6DC11D693096}"/>
              </a:ext>
            </a:extLst>
          </p:cNvPr>
          <p:cNvGraphicFramePr>
            <a:graphicFrameLocks noChangeAspect="1"/>
          </p:cNvGraphicFramePr>
          <p:nvPr userDrawn="1">
            <p:custDataLst>
              <p:tags r:id="rId27"/>
            </p:custDataLst>
            <p:extLst>
              <p:ext uri="{D42A27DB-BD31-4B8C-83A1-F6EECF244321}">
                <p14:modId xmlns:p14="http://schemas.microsoft.com/office/powerpoint/2010/main" val="3083113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624" imgH="623" progId="TCLayout.ActiveDocument.1">
                  <p:embed/>
                </p:oleObj>
              </mc:Choice>
              <mc:Fallback>
                <p:oleObj name="think-cell Slide" r:id="rId29" imgW="624" imgH="623" progId="TCLayout.ActiveDocument.1">
                  <p:embed/>
                  <p:pic>
                    <p:nvPicPr>
                      <p:cNvPr id="8" name="Object 7" hidden="1">
                        <a:extLst>
                          <a:ext uri="{FF2B5EF4-FFF2-40B4-BE49-F238E27FC236}">
                            <a16:creationId xmlns:a16="http://schemas.microsoft.com/office/drawing/2014/main" id="{D4A3DCCF-842A-8B94-2798-6DC11D693096}"/>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7999" y="360083"/>
            <a:ext cx="7200000" cy="720167"/>
          </a:xfrm>
          <a:prstGeom prst="rect">
            <a:avLst/>
          </a:prstGeom>
        </p:spPr>
        <p:txBody>
          <a:bodyPr vert="horz" lIns="0" tIns="0" rIns="0" bIns="0" rtlCol="0" anchor="b" anchorCtr="0">
            <a:noAutofit/>
          </a:bodyPr>
          <a:lstStyle/>
          <a:p>
            <a:r>
              <a:rPr lang="en-GB"/>
              <a:t>Click to edit Master title style</a:t>
            </a:r>
          </a:p>
        </p:txBody>
      </p:sp>
      <p:sp>
        <p:nvSpPr>
          <p:cNvPr id="3" name="Text Placeholder 2"/>
          <p:cNvSpPr>
            <a:spLocks noGrp="1"/>
          </p:cNvSpPr>
          <p:nvPr>
            <p:ph type="body" idx="1"/>
          </p:nvPr>
        </p:nvSpPr>
        <p:spPr>
          <a:xfrm>
            <a:off x="647999" y="1332000"/>
            <a:ext cx="10908000" cy="4428000"/>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4"/>
          </p:nvPr>
        </p:nvSpPr>
        <p:spPr>
          <a:xfrm>
            <a:off x="648000" y="6375018"/>
            <a:ext cx="324000" cy="144033"/>
          </a:xfrm>
          <a:prstGeom prst="rect">
            <a:avLst/>
          </a:prstGeom>
        </p:spPr>
        <p:txBody>
          <a:bodyPr vert="horz" lIns="0" tIns="0" rIns="0" bIns="0" rtlCol="0" anchor="ctr"/>
          <a:lstStyle>
            <a:lvl1pPr algn="l">
              <a:defRPr sz="900">
                <a:solidFill>
                  <a:srgbClr val="8B8A8D"/>
                </a:solidFill>
              </a:defRPr>
            </a:lvl1pPr>
          </a:lstStyle>
          <a:p>
            <a:fld id="{D14BCCD3-0010-4FBA-B965-2126ADC31932}" type="slidenum">
              <a:rPr lang="en-GB" smtClean="0"/>
              <a:pPr/>
              <a:t>‹#›</a:t>
            </a:fld>
            <a:endParaRPr lang="en-GB"/>
          </a:p>
        </p:txBody>
      </p:sp>
      <p:cxnSp>
        <p:nvCxnSpPr>
          <p:cNvPr id="13" name="Straight Connector 12"/>
          <p:cNvCxnSpPr/>
          <p:nvPr/>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Line 12"/>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Line 13"/>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Line 14"/>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21" name="Logotype, static"/>
          <p:cNvGrpSpPr/>
          <p:nvPr userDrawn="1"/>
        </p:nvGrpSpPr>
        <p:grpSpPr>
          <a:xfrm>
            <a:off x="10689465" y="6389301"/>
            <a:ext cx="863687" cy="180102"/>
            <a:chOff x="9501453" y="6148765"/>
            <a:chExt cx="2047875" cy="427037"/>
          </a:xfrm>
        </p:grpSpPr>
        <p:sp>
          <p:nvSpPr>
            <p:cNvPr id="2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900" cap="all" baseline="0">
                <a:solidFill>
                  <a:srgbClr val="8B8A8D"/>
                </a:solidFill>
              </a:defRPr>
            </a:lvl1pPr>
          </a:lstStyle>
          <a:p>
            <a:endParaRPr lang="en-GB"/>
          </a:p>
        </p:txBody>
      </p:sp>
      <p:sp>
        <p:nvSpPr>
          <p:cNvPr id="4" name="xxLanguageTextBox">
            <a:extLst>
              <a:ext uri="{FF2B5EF4-FFF2-40B4-BE49-F238E27FC236}">
                <a16:creationId xmlns:a16="http://schemas.microsoft.com/office/drawing/2014/main" id="{A9AEC883-CAE4-4BED-BBA2-CDDCCF73479E}"/>
              </a:ext>
            </a:extLst>
          </p:cNvPr>
          <p:cNvSpPr/>
          <p:nvPr userDrawn="1">
            <p:custDataLst>
              <p:tags r:id="rId28"/>
            </p:custDataLst>
          </p:nvPr>
        </p:nvSpPr>
        <p:spPr>
          <a:xfrm>
            <a:off x="0" y="0"/>
            <a:ext cx="12700"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chemeClr val="tx1"/>
              </a:solidFill>
            </a:endParaRPr>
          </a:p>
        </p:txBody>
      </p:sp>
    </p:spTree>
    <p:extLst>
      <p:ext uri="{BB962C8B-B14F-4D97-AF65-F5344CB8AC3E}">
        <p14:creationId xmlns:p14="http://schemas.microsoft.com/office/powerpoint/2010/main" val="1538715433"/>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Lst>
  <p:hf hdr="0" ftr="0" dt="0"/>
  <p:txStyles>
    <p:titleStyle>
      <a:lvl1pPr algn="l" defTabSz="1088776" rtl="0" eaLnBrk="1" latinLnBrk="0" hangingPunct="1">
        <a:spcBef>
          <a:spcPct val="0"/>
        </a:spcBef>
        <a:buNone/>
        <a:defRPr sz="2000" b="1" kern="1200">
          <a:solidFill>
            <a:schemeClr val="accent1"/>
          </a:solidFill>
          <a:latin typeface="+mj-lt"/>
          <a:ea typeface="+mj-ea"/>
          <a:cs typeface="+mj-cs"/>
        </a:defRPr>
      </a:lvl1pPr>
    </p:titleStyle>
    <p:body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2.jpeg"/><Relationship Id="rId7"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3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hyperlink" Target="https://www.nordea.com/en/sustainability/our-sustainability-targets"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hyperlink" Target="http://www.nordea.fi/" TargetMode="External"/><Relationship Id="rId2" Type="http://schemas.openxmlformats.org/officeDocument/2006/relationships/image" Target="../media/image7.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5BC6D1-6AF5-3CCA-73C2-1687CB1FC77F}"/>
              </a:ext>
            </a:extLst>
          </p:cNvPr>
          <p:cNvSpPr>
            <a:spLocks noGrp="1"/>
          </p:cNvSpPr>
          <p:nvPr>
            <p:ph type="ctrTitle"/>
          </p:nvPr>
        </p:nvSpPr>
        <p:spPr/>
        <p:txBody>
          <a:bodyPr/>
          <a:lstStyle/>
          <a:p>
            <a:r>
              <a:rPr lang="en-GB" dirty="0" err="1"/>
              <a:t>Taloyhtiöiden</a:t>
            </a:r>
            <a:r>
              <a:rPr lang="en-GB" dirty="0"/>
              <a:t> </a:t>
            </a:r>
            <a:r>
              <a:rPr lang="en-GB" dirty="0" err="1"/>
              <a:t>vihreät</a:t>
            </a:r>
            <a:r>
              <a:rPr lang="en-GB" dirty="0"/>
              <a:t> </a:t>
            </a:r>
            <a:r>
              <a:rPr lang="en-GB" dirty="0" err="1"/>
              <a:t>lainat</a:t>
            </a:r>
            <a:r>
              <a:rPr lang="en-GB" dirty="0"/>
              <a:t> </a:t>
            </a:r>
            <a:r>
              <a:rPr lang="en-GB" dirty="0" err="1"/>
              <a:t>ja</a:t>
            </a:r>
            <a:r>
              <a:rPr lang="en-GB" dirty="0"/>
              <a:t> </a:t>
            </a:r>
            <a:r>
              <a:rPr lang="en-GB" dirty="0" err="1"/>
              <a:t>rahoitus</a:t>
            </a:r>
            <a:endParaRPr lang="en-GB" dirty="0"/>
          </a:p>
        </p:txBody>
      </p:sp>
      <p:sp>
        <p:nvSpPr>
          <p:cNvPr id="3" name="Subtitle 2">
            <a:extLst>
              <a:ext uri="{FF2B5EF4-FFF2-40B4-BE49-F238E27FC236}">
                <a16:creationId xmlns:a16="http://schemas.microsoft.com/office/drawing/2014/main" id="{180CC6F2-54ED-0FF8-B8F3-608CC02D0E6C}"/>
              </a:ext>
            </a:extLst>
          </p:cNvPr>
          <p:cNvSpPr>
            <a:spLocks noGrp="1"/>
          </p:cNvSpPr>
          <p:nvPr>
            <p:ph type="subTitle" idx="1"/>
          </p:nvPr>
        </p:nvSpPr>
        <p:spPr/>
        <p:txBody>
          <a:bodyPr/>
          <a:lstStyle/>
          <a:p>
            <a:r>
              <a:rPr lang="en-GB" dirty="0" err="1"/>
              <a:t>Taloyhtiöiden</a:t>
            </a:r>
            <a:r>
              <a:rPr lang="en-GB" dirty="0"/>
              <a:t> </a:t>
            </a:r>
            <a:r>
              <a:rPr lang="en-GB" dirty="0" err="1"/>
              <a:t>energiailta</a:t>
            </a:r>
            <a:r>
              <a:rPr lang="en-GB" dirty="0"/>
              <a:t> Espoo </a:t>
            </a:r>
          </a:p>
        </p:txBody>
      </p:sp>
      <p:sp>
        <p:nvSpPr>
          <p:cNvPr id="4" name="Text Placeholder 3">
            <a:extLst>
              <a:ext uri="{FF2B5EF4-FFF2-40B4-BE49-F238E27FC236}">
                <a16:creationId xmlns:a16="http://schemas.microsoft.com/office/drawing/2014/main" id="{A5D62F62-0500-DBC9-CF70-3427C61CFE83}"/>
              </a:ext>
            </a:extLst>
          </p:cNvPr>
          <p:cNvSpPr>
            <a:spLocks noGrp="1"/>
          </p:cNvSpPr>
          <p:nvPr>
            <p:ph type="body" sz="quarter" idx="13"/>
          </p:nvPr>
        </p:nvSpPr>
        <p:spPr/>
        <p:txBody>
          <a:bodyPr/>
          <a:lstStyle/>
          <a:p>
            <a:r>
              <a:rPr lang="en-GB" dirty="0"/>
              <a:t>Antti Tolonen, Nordea </a:t>
            </a:r>
            <a:r>
              <a:rPr lang="en-GB" dirty="0" err="1"/>
              <a:t>Taloyhtiöyksikön</a:t>
            </a:r>
            <a:r>
              <a:rPr lang="en-GB" dirty="0"/>
              <a:t> </a:t>
            </a:r>
            <a:r>
              <a:rPr lang="en-GB" dirty="0" err="1"/>
              <a:t>johtaja</a:t>
            </a:r>
            <a:endParaRPr lang="en-GB" dirty="0"/>
          </a:p>
        </p:txBody>
      </p:sp>
      <p:sp>
        <p:nvSpPr>
          <p:cNvPr id="5" name="Text Placeholder 4">
            <a:extLst>
              <a:ext uri="{FF2B5EF4-FFF2-40B4-BE49-F238E27FC236}">
                <a16:creationId xmlns:a16="http://schemas.microsoft.com/office/drawing/2014/main" id="{E78422E2-9D9E-4468-1D35-852E1A2EC89A}"/>
              </a:ext>
            </a:extLst>
          </p:cNvPr>
          <p:cNvSpPr>
            <a:spLocks noGrp="1"/>
          </p:cNvSpPr>
          <p:nvPr>
            <p:ph type="body" sz="quarter" idx="14"/>
          </p:nvPr>
        </p:nvSpPr>
        <p:spPr/>
        <p:txBody>
          <a:bodyPr/>
          <a:lstStyle/>
          <a:p>
            <a:r>
              <a:rPr lang="en-GB" dirty="0"/>
              <a:t>18.9.2024</a:t>
            </a:r>
          </a:p>
        </p:txBody>
      </p:sp>
    </p:spTree>
    <p:extLst>
      <p:ext uri="{BB962C8B-B14F-4D97-AF65-F5344CB8AC3E}">
        <p14:creationId xmlns:p14="http://schemas.microsoft.com/office/powerpoint/2010/main" val="28937885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boat in the water&#10;&#10;Description automatically generated with low confidence">
            <a:extLst>
              <a:ext uri="{FF2B5EF4-FFF2-40B4-BE49-F238E27FC236}">
                <a16:creationId xmlns:a16="http://schemas.microsoft.com/office/drawing/2014/main" id="{89C24BA7-920B-5FED-72E6-F3DB4EFDE3E3}"/>
              </a:ext>
            </a:extLst>
          </p:cNvPr>
          <p:cNvPicPr>
            <a:picLocks noChangeAspect="1"/>
          </p:cNvPicPr>
          <p:nvPr/>
        </p:nvPicPr>
        <p:blipFill>
          <a:blip r:embed="rId3"/>
          <a:stretch>
            <a:fillRect/>
          </a:stretch>
        </p:blipFill>
        <p:spPr>
          <a:xfrm>
            <a:off x="175" y="35972"/>
            <a:ext cx="12194823" cy="6859588"/>
          </a:xfrm>
          <a:prstGeom prst="rect">
            <a:avLst/>
          </a:prstGeom>
        </p:spPr>
      </p:pic>
      <p:sp>
        <p:nvSpPr>
          <p:cNvPr id="2" name="Title 1">
            <a:extLst>
              <a:ext uri="{FF2B5EF4-FFF2-40B4-BE49-F238E27FC236}">
                <a16:creationId xmlns:a16="http://schemas.microsoft.com/office/drawing/2014/main" id="{35E53EF5-9C37-8A9C-BBA6-B60F8EFD98A4}"/>
              </a:ext>
            </a:extLst>
          </p:cNvPr>
          <p:cNvSpPr>
            <a:spLocks noGrp="1"/>
          </p:cNvSpPr>
          <p:nvPr>
            <p:ph type="title"/>
          </p:nvPr>
        </p:nvSpPr>
        <p:spPr>
          <a:xfrm>
            <a:off x="647999" y="360083"/>
            <a:ext cx="10497796" cy="720167"/>
          </a:xfrm>
        </p:spPr>
        <p:txBody>
          <a:bodyPr/>
          <a:lstStyle/>
          <a:p>
            <a:r>
              <a:rPr lang="fi-FI" sz="1400" b="0" dirty="0">
                <a:solidFill>
                  <a:schemeClr val="tx2"/>
                </a:solidFill>
                <a:latin typeface="Nordea Sans Small Light" panose="00000400000000000000" pitchFamily="50" charset="0"/>
              </a:rPr>
              <a:t>Vastuullisuus keskiössä</a:t>
            </a:r>
            <a:br>
              <a:rPr lang="fi-FI" dirty="0">
                <a:solidFill>
                  <a:schemeClr val="tx2"/>
                </a:solidFill>
                <a:latin typeface="Nordea Sans Large Black" panose="00000A00000000000000" pitchFamily="50" charset="0"/>
              </a:rPr>
            </a:br>
            <a:r>
              <a:rPr lang="fi-FI" dirty="0">
                <a:solidFill>
                  <a:schemeClr val="tx2"/>
                </a:solidFill>
                <a:latin typeface="Nordea Sans Large Black" panose="00000A00000000000000" pitchFamily="50" charset="0"/>
              </a:rPr>
              <a:t>Pitkän aikavälin sitoumukset ja tavoitteet sekä niitä tukevat lyhyen aikavälin tavoitteet</a:t>
            </a:r>
          </a:p>
        </p:txBody>
      </p:sp>
      <p:sp>
        <p:nvSpPr>
          <p:cNvPr id="3" name="Slide Number Placeholder 2">
            <a:extLst>
              <a:ext uri="{FF2B5EF4-FFF2-40B4-BE49-F238E27FC236}">
                <a16:creationId xmlns:a16="http://schemas.microsoft.com/office/drawing/2014/main" id="{5B7CA8E9-1CAB-6DB9-D658-360093CD9DD4}"/>
              </a:ext>
            </a:extLst>
          </p:cNvPr>
          <p:cNvSpPr>
            <a:spLocks noGrp="1"/>
          </p:cNvSpPr>
          <p:nvPr>
            <p:ph type="sldNum" sz="quarter" idx="12"/>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fld id="{D14BCCD3-0010-4FBA-B965-2126ADC31932}" type="slidenum">
              <a:rPr kumimoji="0" lang="en-GB" sz="900" b="0" i="0" u="none" strike="noStrike" kern="1200" cap="none" spc="0" normalizeH="0" baseline="0" noProof="0" smtClean="0">
                <a:ln>
                  <a:noFill/>
                </a:ln>
                <a:solidFill>
                  <a:srgbClr val="8B8A8D"/>
                </a:solidFill>
                <a:effectLst/>
                <a:uLnTx/>
                <a:uFillTx/>
                <a:latin typeface="Nordea Sans Large Light" panose="00000400000000000000" pitchFamily="50" charset="0"/>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2</a:t>
            </a:fld>
            <a:endParaRPr kumimoji="0" lang="en-GB" sz="900" b="0" i="0" u="none" strike="noStrike" kern="1200" cap="none" spc="0" normalizeH="0" baseline="0" noProof="0">
              <a:ln>
                <a:noFill/>
              </a:ln>
              <a:solidFill>
                <a:srgbClr val="8B8A8D"/>
              </a:solidFill>
              <a:effectLst/>
              <a:uLnTx/>
              <a:uFillTx/>
              <a:latin typeface="Nordea Sans Large Light" panose="00000400000000000000" pitchFamily="50" charset="0"/>
              <a:ea typeface="+mn-ea"/>
              <a:cs typeface="+mn-cs"/>
            </a:endParaRPr>
          </a:p>
        </p:txBody>
      </p:sp>
      <p:sp>
        <p:nvSpPr>
          <p:cNvPr id="6" name="TextBox 5">
            <a:extLst>
              <a:ext uri="{FF2B5EF4-FFF2-40B4-BE49-F238E27FC236}">
                <a16:creationId xmlns:a16="http://schemas.microsoft.com/office/drawing/2014/main" id="{19475F00-C017-8D38-148D-67E053BCCAA3}"/>
              </a:ext>
            </a:extLst>
          </p:cNvPr>
          <p:cNvSpPr txBox="1"/>
          <p:nvPr/>
        </p:nvSpPr>
        <p:spPr>
          <a:xfrm>
            <a:off x="797462" y="6361964"/>
            <a:ext cx="3180711" cy="461652"/>
          </a:xfrm>
          <a:prstGeom prst="rect">
            <a:avLst/>
          </a:prstGeom>
          <a:noFill/>
        </p:spPr>
        <p:txBody>
          <a:bodyPr wrap="square" rtlCol="0">
            <a:spAutoFit/>
          </a:bodyPr>
          <a:lstStyle/>
          <a:p>
            <a:pPr marL="0" marR="0" lvl="0" indent="0" algn="l" defTabSz="1088667"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474748"/>
                </a:solidFill>
                <a:effectLst/>
                <a:uLnTx/>
                <a:uFillTx/>
                <a:latin typeface="Nordea Sans Large Light" panose="00000400000000000000" pitchFamily="50" charset="0"/>
                <a:ea typeface="+mn-ea"/>
                <a:cs typeface="+mn-cs"/>
              </a:rPr>
              <a:t>1) Verrattuna vuoden 2019 tasoon</a:t>
            </a:r>
          </a:p>
          <a:p>
            <a:pPr marL="0" marR="0" lvl="0" indent="0" algn="l" defTabSz="1088667"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474748"/>
                </a:solidFill>
                <a:effectLst/>
                <a:uLnTx/>
                <a:uFillTx/>
                <a:latin typeface="Nordea Sans Large Light" panose="00000400000000000000" pitchFamily="50" charset="0"/>
                <a:ea typeface="+mn-ea"/>
                <a:cs typeface="+mn-cs"/>
              </a:rPr>
              <a:t>2) Osa keskipitkän aikavälin tavoitteista – </a:t>
            </a:r>
            <a:r>
              <a:rPr kumimoji="0" lang="fi-FI" sz="800" b="0" i="0" u="none" strike="noStrike" kern="1200" cap="none" spc="0" normalizeH="0" baseline="0" noProof="0">
                <a:ln>
                  <a:noFill/>
                </a:ln>
                <a:solidFill>
                  <a:srgbClr val="474748"/>
                </a:solidFill>
                <a:effectLst/>
                <a:uLnTx/>
                <a:uFillTx/>
                <a:latin typeface="Nordea Sans Large Light" panose="00000400000000000000" pitchFamily="50" charset="0"/>
                <a:ea typeface="+mn-ea"/>
                <a:cs typeface="+mn-cs"/>
                <a:hlinkClick r:id="rId4"/>
              </a:rPr>
              <a:t>katso kaikki tavoitteet</a:t>
            </a:r>
          </a:p>
          <a:p>
            <a:pPr marL="0" marR="0" lvl="0" indent="0" algn="l" defTabSz="1088667"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474748"/>
                </a:solidFill>
                <a:effectLst/>
                <a:uLnTx/>
                <a:uFillTx/>
                <a:latin typeface="Nordea Sans Large Light" panose="00000400000000000000" pitchFamily="50" charset="0"/>
                <a:ea typeface="+mn-ea"/>
                <a:cs typeface="+mn-cs"/>
              </a:rPr>
              <a:t>3) Konsernin johtoryhmä (GLT), GLT-1 ja GLT-2</a:t>
            </a:r>
          </a:p>
        </p:txBody>
      </p:sp>
      <p:sp>
        <p:nvSpPr>
          <p:cNvPr id="7" name="Rectangle: Rounded Corners 6">
            <a:extLst>
              <a:ext uri="{FF2B5EF4-FFF2-40B4-BE49-F238E27FC236}">
                <a16:creationId xmlns:a16="http://schemas.microsoft.com/office/drawing/2014/main" id="{465AEC24-62EB-2FCB-DF1E-1D494FEC7444}"/>
              </a:ext>
            </a:extLst>
          </p:cNvPr>
          <p:cNvSpPr/>
          <p:nvPr/>
        </p:nvSpPr>
        <p:spPr>
          <a:xfrm>
            <a:off x="529461" y="1675587"/>
            <a:ext cx="11161947" cy="936190"/>
          </a:xfrm>
          <a:prstGeom prst="roundRect">
            <a:avLst>
              <a:gd name="adj" fmla="val 9851"/>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t" anchorCtr="0" forceAA="0" compatLnSpc="1">
            <a:prstTxWarp prst="textNoShape">
              <a:avLst/>
            </a:prstTxWarp>
            <a:noAutofit/>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FBD9CA"/>
                </a:solidFill>
                <a:effectLst/>
                <a:uLnTx/>
                <a:uFillTx/>
                <a:latin typeface="Nordea Sans Large Light" panose="00000400000000000000" pitchFamily="50" charset="0"/>
                <a:ea typeface="+mn-ea"/>
                <a:cs typeface="+mn-cs"/>
              </a:rPr>
              <a:t>Saavutamme</a:t>
            </a:r>
          </a:p>
          <a:p>
            <a:pPr marL="0" marR="0" lvl="0" indent="0" algn="ctr" defTabSz="1088558" rtl="0" eaLnBrk="1" fontAlgn="auto" latinLnBrk="0" hangingPunct="1">
              <a:lnSpc>
                <a:spcPct val="100000"/>
              </a:lnSpc>
              <a:spcBef>
                <a:spcPts val="0"/>
              </a:spcBef>
              <a:spcAft>
                <a:spcPts val="0"/>
              </a:spcAft>
              <a:buClrTx/>
              <a:buSzTx/>
              <a:buFontTx/>
              <a:buNone/>
              <a:tabLst/>
              <a:defRPr/>
            </a:pPr>
            <a:r>
              <a:rPr kumimoji="0" lang="fi-FI" sz="2398" b="1" i="0" u="none" strike="noStrike" kern="1200" cap="none" spc="0" normalizeH="0" baseline="0" noProof="0" dirty="0">
                <a:ln>
                  <a:noFill/>
                </a:ln>
                <a:solidFill>
                  <a:srgbClr val="40BFA3"/>
                </a:solidFill>
                <a:effectLst/>
                <a:uLnTx/>
                <a:uFillTx/>
                <a:latin typeface="Nordea Sans Large Bold" panose="00000800000000000000" pitchFamily="50" charset="0"/>
                <a:ea typeface="+mn-ea"/>
                <a:cs typeface="+mn-cs"/>
              </a:rPr>
              <a:t> nollapäästöt</a:t>
            </a:r>
            <a:r>
              <a:rPr kumimoji="0" lang="fi-FI" sz="2398" b="1" i="0" u="none" strike="noStrike" kern="1200" cap="none" spc="0" normalizeH="0" baseline="0" noProof="0" dirty="0">
                <a:ln>
                  <a:noFill/>
                </a:ln>
                <a:solidFill>
                  <a:srgbClr val="40BFA3"/>
                </a:solidFill>
                <a:effectLst/>
                <a:uLnTx/>
                <a:uFillTx/>
                <a:latin typeface="Nordea Sans Large Light" panose="00000400000000000000" pitchFamily="50" charset="0"/>
                <a:ea typeface="+mn-ea"/>
                <a:cs typeface="+mn-cs"/>
              </a:rPr>
              <a:t> </a:t>
            </a:r>
          </a:p>
          <a:p>
            <a:pPr marL="0" marR="0" lvl="0" indent="0" algn="ctr" defTabSz="1088558"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FBD9CA"/>
                </a:solidFill>
                <a:effectLst/>
                <a:uLnTx/>
                <a:uFillTx/>
                <a:latin typeface="Nordea Sans Large Light" panose="00000400000000000000" pitchFamily="50" charset="0"/>
                <a:ea typeface="+mn-ea"/>
                <a:cs typeface="+mn-cs"/>
              </a:rPr>
              <a:t>vuoteen 2050 mennessä</a:t>
            </a:r>
          </a:p>
        </p:txBody>
      </p:sp>
      <p:sp>
        <p:nvSpPr>
          <p:cNvPr id="8" name="Rectangle: Rounded Corners 7">
            <a:extLst>
              <a:ext uri="{FF2B5EF4-FFF2-40B4-BE49-F238E27FC236}">
                <a16:creationId xmlns:a16="http://schemas.microsoft.com/office/drawing/2014/main" id="{15374E36-5B06-9436-0A19-3A6CE48CE428}"/>
              </a:ext>
            </a:extLst>
          </p:cNvPr>
          <p:cNvSpPr/>
          <p:nvPr/>
        </p:nvSpPr>
        <p:spPr>
          <a:xfrm>
            <a:off x="529459" y="3165516"/>
            <a:ext cx="5401094" cy="936190"/>
          </a:xfrm>
          <a:prstGeom prst="roundRect">
            <a:avLst>
              <a:gd name="adj" fmla="val 10987"/>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t" anchorCtr="0" forceAA="0" compatLnSpc="1">
            <a:prstTxWarp prst="textNoShape">
              <a:avLst/>
            </a:prstTxWarp>
            <a:noAutofit/>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fi-FI" sz="2398" b="1" i="0" u="none" strike="noStrike" kern="1200" cap="none" spc="0" normalizeH="0" baseline="0" noProof="0" dirty="0">
                <a:ln>
                  <a:noFill/>
                </a:ln>
                <a:solidFill>
                  <a:srgbClr val="40BFA3"/>
                </a:solidFill>
                <a:effectLst/>
                <a:uLnTx/>
                <a:uFillTx/>
                <a:latin typeface="Nordea Sans Large Bold" panose="00000800000000000000" pitchFamily="50" charset="0"/>
                <a:ea typeface="+mn-ea"/>
                <a:cs typeface="+mn-cs"/>
              </a:rPr>
              <a:t> 40–50 %:n</a:t>
            </a:r>
            <a:r>
              <a:rPr kumimoji="0" lang="fi-FI" sz="2398" b="1" i="0" u="none" strike="noStrike" kern="1200" cap="none" spc="0" normalizeH="0" baseline="0" noProof="0" dirty="0">
                <a:ln>
                  <a:noFill/>
                </a:ln>
                <a:solidFill>
                  <a:srgbClr val="40BFA3"/>
                </a:solidFill>
                <a:effectLst/>
                <a:uLnTx/>
                <a:uFillTx/>
                <a:latin typeface="Nordea Sans Large Light" panose="00000400000000000000" pitchFamily="50" charset="0"/>
                <a:ea typeface="+mn-ea"/>
                <a:cs typeface="+mn-cs"/>
              </a:rPr>
              <a:t> </a:t>
            </a:r>
          </a:p>
          <a:p>
            <a:pPr marL="0" marR="0" lvl="0" indent="0" algn="ctr" defTabSz="1088558"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FBD9CA"/>
                </a:solidFill>
                <a:effectLst/>
                <a:uLnTx/>
                <a:uFillTx/>
                <a:latin typeface="Nordea Sans Large Light" panose="00000400000000000000" pitchFamily="50" charset="0"/>
                <a:ea typeface="+mn-ea"/>
                <a:cs typeface="+mn-cs"/>
              </a:rPr>
              <a:t>vähennys sijoitus- ja luottosalkkujen päästöissä vuoteen 2030 mennessä</a:t>
            </a:r>
            <a:r>
              <a:rPr kumimoji="0" lang="fi-FI" sz="1200" b="0" i="0" u="none" strike="noStrike" kern="1200" cap="none" spc="0" normalizeH="0" baseline="30000" noProof="0" dirty="0">
                <a:ln>
                  <a:noFill/>
                </a:ln>
                <a:solidFill>
                  <a:srgbClr val="FBD9CA"/>
                </a:solidFill>
                <a:effectLst/>
                <a:uLnTx/>
                <a:uFillTx/>
                <a:latin typeface="Nordea Sans Large Light" panose="00000400000000000000" pitchFamily="50" charset="0"/>
                <a:ea typeface="+mn-ea"/>
                <a:cs typeface="+mn-cs"/>
              </a:rPr>
              <a:t>1</a:t>
            </a:r>
          </a:p>
        </p:txBody>
      </p:sp>
      <p:sp>
        <p:nvSpPr>
          <p:cNvPr id="9" name="Rectangle: Rounded Corners 8">
            <a:extLst>
              <a:ext uri="{FF2B5EF4-FFF2-40B4-BE49-F238E27FC236}">
                <a16:creationId xmlns:a16="http://schemas.microsoft.com/office/drawing/2014/main" id="{99489799-CACB-D411-4732-E888EDA9C16B}"/>
              </a:ext>
            </a:extLst>
          </p:cNvPr>
          <p:cNvSpPr/>
          <p:nvPr/>
        </p:nvSpPr>
        <p:spPr>
          <a:xfrm>
            <a:off x="6307045" y="3165516"/>
            <a:ext cx="5401094" cy="936190"/>
          </a:xfrm>
          <a:prstGeom prst="roundRect">
            <a:avLst>
              <a:gd name="adj" fmla="val 10987"/>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t" anchorCtr="0" forceAA="0" compatLnSpc="1">
            <a:prstTxWarp prst="textNoShape">
              <a:avLst/>
            </a:prstTxWarp>
            <a:noAutofit/>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fi-FI" sz="2398" b="1" i="0" u="none" strike="noStrike" kern="1200" cap="none" spc="0" normalizeH="0" baseline="0" noProof="0">
                <a:ln>
                  <a:noFill/>
                </a:ln>
                <a:solidFill>
                  <a:srgbClr val="40BFA3"/>
                </a:solidFill>
                <a:effectLst/>
                <a:uLnTx/>
                <a:uFillTx/>
                <a:latin typeface="Nordea Sans Large Bold" panose="00000800000000000000" pitchFamily="50" charset="0"/>
                <a:ea typeface="+mn-ea"/>
                <a:cs typeface="+mn-cs"/>
              </a:rPr>
              <a:t>50 %:n</a:t>
            </a:r>
            <a:r>
              <a:rPr kumimoji="0" lang="fi-FI" sz="2398" b="1" i="0" u="none" strike="noStrike" kern="1200" cap="none" spc="0" normalizeH="0" baseline="0" noProof="0">
                <a:ln>
                  <a:noFill/>
                </a:ln>
                <a:solidFill>
                  <a:srgbClr val="40BFA3"/>
                </a:solidFill>
                <a:effectLst/>
                <a:uLnTx/>
                <a:uFillTx/>
                <a:latin typeface="Nordea Sans Large Light" panose="00000400000000000000" pitchFamily="50" charset="0"/>
                <a:ea typeface="+mn-ea"/>
                <a:cs typeface="+mn-cs"/>
              </a:rPr>
              <a:t> </a:t>
            </a:r>
          </a:p>
          <a:p>
            <a:pPr marL="0" marR="0" lvl="0" indent="0" algn="ctr" defTabSz="1088558"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FBD9CA"/>
                </a:solidFill>
                <a:effectLst/>
                <a:uLnTx/>
                <a:uFillTx/>
                <a:latin typeface="Nordea Sans Large Light" panose="00000400000000000000" pitchFamily="50" charset="0"/>
                <a:ea typeface="+mn-ea"/>
                <a:cs typeface="+mn-cs"/>
              </a:rPr>
              <a:t>vähennys konsernin sisäisissä päästöissä vuoteen 2030 mennessä</a:t>
            </a:r>
            <a:r>
              <a:rPr kumimoji="0" lang="fi-FI" sz="1200" b="0" i="0" u="none" strike="noStrike" kern="1200" cap="none" spc="0" normalizeH="0" baseline="30000" noProof="0">
                <a:ln>
                  <a:noFill/>
                </a:ln>
                <a:solidFill>
                  <a:srgbClr val="FBD9CA"/>
                </a:solidFill>
                <a:effectLst/>
                <a:uLnTx/>
                <a:uFillTx/>
                <a:latin typeface="Nordea Sans Large Light" panose="00000400000000000000" pitchFamily="50" charset="0"/>
                <a:ea typeface="+mn-ea"/>
                <a:cs typeface="+mn-cs"/>
              </a:rPr>
              <a:t>1</a:t>
            </a:r>
          </a:p>
        </p:txBody>
      </p:sp>
      <p:sp>
        <p:nvSpPr>
          <p:cNvPr id="10" name="Rectangle: Rounded Corners 9">
            <a:extLst>
              <a:ext uri="{FF2B5EF4-FFF2-40B4-BE49-F238E27FC236}">
                <a16:creationId xmlns:a16="http://schemas.microsoft.com/office/drawing/2014/main" id="{2427A6C6-D773-D92C-6959-78C34E896642}"/>
              </a:ext>
            </a:extLst>
          </p:cNvPr>
          <p:cNvSpPr/>
          <p:nvPr/>
        </p:nvSpPr>
        <p:spPr>
          <a:xfrm>
            <a:off x="529462" y="4736437"/>
            <a:ext cx="2087878" cy="1259928"/>
          </a:xfrm>
          <a:prstGeom prst="roundRect">
            <a:avLst>
              <a:gd name="adj" fmla="val 9914"/>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t" anchorCtr="0" forceAA="0" compatLnSpc="1">
            <a:prstTxWarp prst="textNoShape">
              <a:avLst/>
            </a:prstTxWarp>
            <a:noAutofit/>
          </a:bodyPr>
          <a:lstStyle/>
          <a:p>
            <a:pPr marL="0" marR="0" lvl="0" indent="0" algn="ctr" defTabSz="1088558" rtl="0" eaLnBrk="1" fontAlgn="auto" latinLnBrk="0" hangingPunct="1">
              <a:lnSpc>
                <a:spcPct val="100000"/>
              </a:lnSpc>
              <a:spcBef>
                <a:spcPts val="0"/>
              </a:spcBef>
              <a:spcAft>
                <a:spcPts val="300"/>
              </a:spcAft>
              <a:buClrTx/>
              <a:buSzTx/>
              <a:buFontTx/>
              <a:buNone/>
              <a:tabLst/>
              <a:defRPr/>
            </a:pPr>
            <a:r>
              <a:rPr kumimoji="0" lang="fi-FI" sz="1600" b="1" i="0" u="none" strike="noStrike" kern="1200" cap="none" spc="0" normalizeH="0" baseline="0" noProof="0" dirty="0">
                <a:ln>
                  <a:noFill/>
                </a:ln>
                <a:solidFill>
                  <a:srgbClr val="40BFA3"/>
                </a:solidFill>
                <a:effectLst/>
                <a:uLnTx/>
                <a:uFillTx/>
                <a:latin typeface="Nordea Sans Large Bold" panose="00000800000000000000" pitchFamily="50" charset="0"/>
                <a:ea typeface="+mn-ea"/>
                <a:cs typeface="+mn-cs"/>
              </a:rPr>
              <a:t>&gt;200 mrd. euroa</a:t>
            </a:r>
          </a:p>
          <a:p>
            <a:pPr marL="0" marR="0" lvl="0" indent="0" algn="ctr" defTabSz="1088558" rtl="0" eaLnBrk="1" fontAlgn="auto" latinLnBrk="0" hangingPunct="1">
              <a:lnSpc>
                <a:spcPct val="100000"/>
              </a:lnSpc>
              <a:spcBef>
                <a:spcPts val="0"/>
              </a:spcBef>
              <a:spcAft>
                <a:spcPts val="0"/>
              </a:spcAft>
              <a:buClrTx/>
              <a:buSzTx/>
              <a:buFontTx/>
              <a:buNone/>
              <a:tabLst/>
              <a:defRPr/>
            </a:pPr>
            <a:r>
              <a:rPr kumimoji="0" lang="fi-FI" sz="1050" b="0" i="0" u="none" strike="noStrike" kern="1200" cap="none" spc="0" normalizeH="0" baseline="0" noProof="0" dirty="0">
                <a:ln>
                  <a:noFill/>
                </a:ln>
                <a:solidFill>
                  <a:srgbClr val="FBD9CA"/>
                </a:solidFill>
                <a:effectLst/>
                <a:uLnTx/>
                <a:uFillTx/>
                <a:latin typeface="Nordea Sans Large Light" panose="00000400000000000000" pitchFamily="50" charset="0"/>
                <a:ea typeface="+mn-ea"/>
                <a:cs typeface="+mn-cs"/>
              </a:rPr>
              <a:t>vastuullista rahoitusta vuosina 2022–2025</a:t>
            </a:r>
          </a:p>
        </p:txBody>
      </p:sp>
      <p:sp>
        <p:nvSpPr>
          <p:cNvPr id="11" name="Rectangle: Rounded Corners 10">
            <a:extLst>
              <a:ext uri="{FF2B5EF4-FFF2-40B4-BE49-F238E27FC236}">
                <a16:creationId xmlns:a16="http://schemas.microsoft.com/office/drawing/2014/main" id="{AC94301E-B0E4-6AD9-F52E-99E318517645}"/>
              </a:ext>
            </a:extLst>
          </p:cNvPr>
          <p:cNvSpPr/>
          <p:nvPr/>
        </p:nvSpPr>
        <p:spPr>
          <a:xfrm>
            <a:off x="2814709" y="4736437"/>
            <a:ext cx="2087878" cy="1259928"/>
          </a:xfrm>
          <a:prstGeom prst="roundRect">
            <a:avLst>
              <a:gd name="adj" fmla="val 9070"/>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t" anchorCtr="0" forceAA="0" compatLnSpc="1">
            <a:prstTxWarp prst="textNoShape">
              <a:avLst/>
            </a:prstTxWarp>
            <a:noAutofit/>
          </a:bodyPr>
          <a:lstStyle/>
          <a:p>
            <a:pPr marL="0" marR="0" lvl="0" indent="0" algn="ctr" defTabSz="1088558" rtl="0" eaLnBrk="1" fontAlgn="auto" latinLnBrk="0" hangingPunct="1">
              <a:lnSpc>
                <a:spcPct val="100000"/>
              </a:lnSpc>
              <a:spcBef>
                <a:spcPts val="0"/>
              </a:spcBef>
              <a:spcAft>
                <a:spcPts val="300"/>
              </a:spcAft>
              <a:buClrTx/>
              <a:buSzTx/>
              <a:buFontTx/>
              <a:buNone/>
              <a:tabLst/>
              <a:defRPr/>
            </a:pPr>
            <a:r>
              <a:rPr kumimoji="0" lang="fi-FI" sz="1600" b="1" i="0" u="none" strike="noStrike" kern="1200" cap="none" spc="0" normalizeH="0" baseline="0" noProof="0">
                <a:ln>
                  <a:noFill/>
                </a:ln>
                <a:solidFill>
                  <a:srgbClr val="40BFA3"/>
                </a:solidFill>
                <a:effectLst/>
                <a:uLnTx/>
                <a:uFillTx/>
                <a:latin typeface="Nordea Sans Large Bold" panose="00000800000000000000" pitchFamily="50" charset="0"/>
                <a:ea typeface="+mn-ea"/>
                <a:cs typeface="+mn-cs"/>
              </a:rPr>
              <a:t>90 %</a:t>
            </a:r>
            <a:r>
              <a:rPr kumimoji="0" lang="fi-FI" sz="1600" b="1" i="0" u="none" strike="noStrike" kern="1200" cap="none" spc="0" normalizeH="0" baseline="0" noProof="0">
                <a:ln>
                  <a:noFill/>
                </a:ln>
                <a:solidFill>
                  <a:srgbClr val="40BFA3"/>
                </a:solidFill>
                <a:effectLst/>
                <a:uLnTx/>
                <a:uFillTx/>
                <a:latin typeface="Nordea Sans Large Light" panose="00000400000000000000" pitchFamily="50" charset="0"/>
                <a:ea typeface="+mn-ea"/>
                <a:cs typeface="+mn-cs"/>
              </a:rPr>
              <a:t> </a:t>
            </a:r>
          </a:p>
          <a:p>
            <a:pPr marL="0" marR="0" lvl="0" indent="0" algn="ctr" defTabSz="1088558" rtl="0" eaLnBrk="1" fontAlgn="auto" latinLnBrk="0" hangingPunct="1">
              <a:lnSpc>
                <a:spcPct val="100000"/>
              </a:lnSpc>
              <a:spcBef>
                <a:spcPts val="0"/>
              </a:spcBef>
              <a:spcAft>
                <a:spcPts val="0"/>
              </a:spcAft>
              <a:buClrTx/>
              <a:buSzTx/>
              <a:buFontTx/>
              <a:buNone/>
              <a:tabLst/>
              <a:defRPr/>
            </a:pPr>
            <a:r>
              <a:rPr kumimoji="0" lang="fi-FI" sz="1050" b="0" i="0" u="none" strike="noStrike" kern="1200" cap="none" spc="0" normalizeH="0" baseline="0" noProof="0">
                <a:ln>
                  <a:noFill/>
                </a:ln>
                <a:solidFill>
                  <a:srgbClr val="FBD9CA"/>
                </a:solidFill>
                <a:effectLst/>
                <a:uLnTx/>
                <a:uFillTx/>
                <a:latin typeface="Nordea Sans Large Light" panose="00000400000000000000" pitchFamily="50" charset="0"/>
                <a:ea typeface="+mn-ea"/>
                <a:cs typeface="+mn-cs"/>
              </a:rPr>
              <a:t>ilmastoherkillä sektoreilla toimivien suurten yritysasiakkaiden vastuista siirtymäsuunnitelmien piirissä</a:t>
            </a:r>
          </a:p>
        </p:txBody>
      </p:sp>
      <p:sp>
        <p:nvSpPr>
          <p:cNvPr id="12" name="Rectangle: Rounded Corners 11">
            <a:extLst>
              <a:ext uri="{FF2B5EF4-FFF2-40B4-BE49-F238E27FC236}">
                <a16:creationId xmlns:a16="http://schemas.microsoft.com/office/drawing/2014/main" id="{8AD312E0-5D3D-6905-9563-27FBFBFBE0C2}"/>
              </a:ext>
            </a:extLst>
          </p:cNvPr>
          <p:cNvSpPr/>
          <p:nvPr/>
        </p:nvSpPr>
        <p:spPr>
          <a:xfrm>
            <a:off x="9620261" y="4736437"/>
            <a:ext cx="2087878" cy="1259928"/>
          </a:xfrm>
          <a:prstGeom prst="roundRect">
            <a:avLst>
              <a:gd name="adj" fmla="val 6538"/>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t" anchorCtr="0" forceAA="0" compatLnSpc="1">
            <a:prstTxWarp prst="textNoShape">
              <a:avLst/>
            </a:prstTxWarp>
            <a:noAutofit/>
          </a:bodyPr>
          <a:lstStyle/>
          <a:p>
            <a:pPr marL="0" marR="0" lvl="0" indent="0" algn="ctr" defTabSz="1088558" rtl="0" eaLnBrk="1" fontAlgn="auto" latinLnBrk="0" hangingPunct="1">
              <a:lnSpc>
                <a:spcPct val="100000"/>
              </a:lnSpc>
              <a:spcBef>
                <a:spcPts val="0"/>
              </a:spcBef>
              <a:spcAft>
                <a:spcPts val="300"/>
              </a:spcAft>
              <a:buClrTx/>
              <a:buSzTx/>
              <a:buFontTx/>
              <a:buNone/>
              <a:tabLst/>
              <a:defRPr/>
            </a:pPr>
            <a:r>
              <a:rPr kumimoji="0" lang="fi-FI" sz="1600" b="1" i="0" u="none" strike="noStrike" kern="1200" cap="none" spc="0" normalizeH="0" baseline="0" noProof="0" dirty="0">
                <a:ln>
                  <a:noFill/>
                </a:ln>
                <a:solidFill>
                  <a:srgbClr val="40BFA3"/>
                </a:solidFill>
                <a:effectLst/>
                <a:uLnTx/>
                <a:uFillTx/>
                <a:latin typeface="Nordea Sans Large Light" panose="00000400000000000000" pitchFamily="50" charset="0"/>
                <a:ea typeface="+mn-ea"/>
                <a:cs typeface="+mn-cs"/>
              </a:rPr>
              <a:t> </a:t>
            </a:r>
            <a:r>
              <a:rPr kumimoji="0" lang="fi-FI" sz="1600" b="1" i="0" u="none" strike="noStrike" kern="1200" cap="none" spc="0" normalizeH="0" baseline="0" noProof="0" dirty="0">
                <a:ln>
                  <a:noFill/>
                </a:ln>
                <a:solidFill>
                  <a:srgbClr val="40BFA3"/>
                </a:solidFill>
                <a:effectLst/>
                <a:uLnTx/>
                <a:uFillTx/>
                <a:latin typeface="Nordea Sans Large Bold" panose="00000800000000000000" pitchFamily="50" charset="0"/>
                <a:ea typeface="+mn-ea"/>
                <a:cs typeface="+mn-cs"/>
              </a:rPr>
              <a:t>Vähintään 40 % </a:t>
            </a:r>
          </a:p>
          <a:p>
            <a:pPr marL="0" marR="0" lvl="0" indent="0" algn="ctr" defTabSz="1088558" rtl="0" eaLnBrk="1" fontAlgn="auto" latinLnBrk="0" hangingPunct="1">
              <a:lnSpc>
                <a:spcPct val="100000"/>
              </a:lnSpc>
              <a:spcBef>
                <a:spcPts val="0"/>
              </a:spcBef>
              <a:spcAft>
                <a:spcPts val="0"/>
              </a:spcAft>
              <a:buClrTx/>
              <a:buSzTx/>
              <a:buFontTx/>
              <a:buNone/>
              <a:tabLst/>
              <a:defRPr/>
            </a:pPr>
            <a:r>
              <a:rPr kumimoji="0" lang="fi-FI" sz="1050" b="0" i="0" u="none" strike="noStrike" kern="1200" cap="none" spc="0" normalizeH="0" baseline="0" noProof="0" dirty="0">
                <a:ln>
                  <a:noFill/>
                </a:ln>
                <a:solidFill>
                  <a:srgbClr val="FBD9CA"/>
                </a:solidFill>
                <a:effectLst/>
                <a:uLnTx/>
                <a:uFillTx/>
                <a:latin typeface="Nordea Sans Large Light" panose="00000400000000000000" pitchFamily="50" charset="0"/>
                <a:ea typeface="+mn-ea"/>
                <a:cs typeface="+mn-cs"/>
              </a:rPr>
              <a:t>sekä miehiä että naisia kolmella ylimmällä johtotasolla</a:t>
            </a:r>
            <a:r>
              <a:rPr kumimoji="0" lang="fi-FI" sz="1000" b="0" i="0" u="none" strike="noStrike" kern="1200" cap="none" spc="0" normalizeH="0" baseline="30000" noProof="0" dirty="0">
                <a:ln>
                  <a:noFill/>
                </a:ln>
                <a:solidFill>
                  <a:srgbClr val="FBD9CA"/>
                </a:solidFill>
                <a:effectLst/>
                <a:uLnTx/>
                <a:uFillTx/>
                <a:latin typeface="Nordea Sans Large Light" panose="00000400000000000000" pitchFamily="50" charset="0"/>
                <a:ea typeface="+mn-ea"/>
                <a:cs typeface="+mn-cs"/>
              </a:rPr>
              <a:t>3</a:t>
            </a:r>
            <a:r>
              <a:rPr kumimoji="0" lang="fi-FI" sz="1050" b="0" i="0" u="none" strike="noStrike" kern="1200" cap="none" spc="0" normalizeH="0" baseline="0" noProof="0" dirty="0">
                <a:ln>
                  <a:noFill/>
                </a:ln>
                <a:solidFill>
                  <a:srgbClr val="FBD9CA"/>
                </a:solidFill>
                <a:effectLst/>
                <a:uLnTx/>
                <a:uFillTx/>
                <a:latin typeface="Nordea Sans Large Light" panose="00000400000000000000" pitchFamily="50" charset="0"/>
                <a:ea typeface="+mn-ea"/>
                <a:cs typeface="+mn-cs"/>
              </a:rPr>
              <a:t> yhteensä</a:t>
            </a:r>
          </a:p>
        </p:txBody>
      </p:sp>
      <p:sp>
        <p:nvSpPr>
          <p:cNvPr id="13" name="Rectangle: Rounded Corners 12">
            <a:extLst>
              <a:ext uri="{FF2B5EF4-FFF2-40B4-BE49-F238E27FC236}">
                <a16:creationId xmlns:a16="http://schemas.microsoft.com/office/drawing/2014/main" id="{22936B21-55EF-E092-4C42-F8496B816967}"/>
              </a:ext>
            </a:extLst>
          </p:cNvPr>
          <p:cNvSpPr/>
          <p:nvPr/>
        </p:nvSpPr>
        <p:spPr>
          <a:xfrm>
            <a:off x="5083227" y="4736437"/>
            <a:ext cx="2087878" cy="1259928"/>
          </a:xfrm>
          <a:prstGeom prst="roundRect">
            <a:avLst>
              <a:gd name="adj" fmla="val 8226"/>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t" anchorCtr="0" forceAA="0" compatLnSpc="1">
            <a:prstTxWarp prst="textNoShape">
              <a:avLst/>
            </a:prstTxWarp>
            <a:noAutofit/>
          </a:bodyPr>
          <a:lstStyle/>
          <a:p>
            <a:pPr marL="0" marR="0" lvl="0" indent="0" algn="ctr" defTabSz="1088558" rtl="0" eaLnBrk="1" fontAlgn="auto" latinLnBrk="0" hangingPunct="1">
              <a:lnSpc>
                <a:spcPct val="100000"/>
              </a:lnSpc>
              <a:spcBef>
                <a:spcPts val="0"/>
              </a:spcBef>
              <a:spcAft>
                <a:spcPts val="300"/>
              </a:spcAft>
              <a:buClrTx/>
              <a:buSzTx/>
              <a:buFontTx/>
              <a:buNone/>
              <a:tabLst/>
              <a:defRPr/>
            </a:pPr>
            <a:r>
              <a:rPr kumimoji="0" lang="fi-FI" sz="1600" b="1" i="0" u="none" strike="noStrike" kern="1200" cap="none" spc="0" normalizeH="0" baseline="0" noProof="0" dirty="0">
                <a:ln>
                  <a:noFill/>
                </a:ln>
                <a:solidFill>
                  <a:srgbClr val="40BFA3"/>
                </a:solidFill>
                <a:effectLst/>
                <a:uLnTx/>
                <a:uFillTx/>
                <a:latin typeface="Nordea Sans Large Bold" panose="00000800000000000000" pitchFamily="50" charset="0"/>
                <a:ea typeface="+mn-ea"/>
                <a:cs typeface="+mn-cs"/>
              </a:rPr>
              <a:t>80 %</a:t>
            </a:r>
            <a:endParaRPr kumimoji="0" lang="fi-FI" sz="1600" b="1" i="0" u="none" strike="noStrike" kern="1200" cap="none" spc="0" normalizeH="0" baseline="0" noProof="0" dirty="0">
              <a:ln>
                <a:noFill/>
              </a:ln>
              <a:solidFill>
                <a:srgbClr val="40BFA3"/>
              </a:solidFill>
              <a:effectLst/>
              <a:uLnTx/>
              <a:uFillTx/>
              <a:latin typeface="Nordea Sans Large Light" panose="00000400000000000000" pitchFamily="50" charset="0"/>
              <a:ea typeface="+mn-ea"/>
              <a:cs typeface="+mn-cs"/>
            </a:endParaRPr>
          </a:p>
          <a:p>
            <a:pPr marL="0" marR="0" lvl="0" indent="0" algn="ctr" defTabSz="1088558"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FBD9CA"/>
                </a:solidFill>
                <a:effectLst/>
                <a:uLnTx/>
                <a:uFillTx/>
                <a:latin typeface="Nordea Sans Large Light" panose="00000400000000000000" pitchFamily="50" charset="0"/>
                <a:ea typeface="+mn-ea"/>
                <a:cs typeface="+mn-cs"/>
              </a:rPr>
              <a:t>200 suuripäästöisimmästä yhtiöstä </a:t>
            </a:r>
            <a:r>
              <a:rPr kumimoji="0" lang="fi-FI" sz="900" b="0" i="0" u="none" strike="noStrike" kern="1200" cap="none" spc="0" normalizeH="0" baseline="0" noProof="0" dirty="0" err="1">
                <a:ln>
                  <a:noFill/>
                </a:ln>
                <a:solidFill>
                  <a:srgbClr val="FBD9CA"/>
                </a:solidFill>
                <a:effectLst/>
                <a:uLnTx/>
                <a:uFillTx/>
                <a:latin typeface="Nordea Sans Large Light" panose="00000400000000000000" pitchFamily="50" charset="0"/>
                <a:ea typeface="+mn-ea"/>
                <a:cs typeface="+mn-cs"/>
              </a:rPr>
              <a:t>NAM:n</a:t>
            </a:r>
            <a:r>
              <a:rPr kumimoji="0" lang="fi-FI" sz="900" b="0" i="0" u="none" strike="noStrike" kern="1200" cap="none" spc="0" normalizeH="0" baseline="0" noProof="0" dirty="0">
                <a:ln>
                  <a:noFill/>
                </a:ln>
                <a:solidFill>
                  <a:srgbClr val="FBD9CA"/>
                </a:solidFill>
                <a:effectLst/>
                <a:uLnTx/>
                <a:uFillTx/>
                <a:latin typeface="Nordea Sans Large Light" panose="00000400000000000000" pitchFamily="50" charset="0"/>
                <a:ea typeface="+mn-ea"/>
                <a:cs typeface="+mn-cs"/>
              </a:rPr>
              <a:t> sijoitussalkuissa joko noudattaa Pariisin ilmastosopimusta tai on aktiivisen, ilmastosopimuksen noudattamiseen tähtäävän vaikuttamistyön kohteena</a:t>
            </a:r>
          </a:p>
        </p:txBody>
      </p:sp>
      <p:sp>
        <p:nvSpPr>
          <p:cNvPr id="14" name="Rectangle: Rounded Corners 13">
            <a:extLst>
              <a:ext uri="{FF2B5EF4-FFF2-40B4-BE49-F238E27FC236}">
                <a16:creationId xmlns:a16="http://schemas.microsoft.com/office/drawing/2014/main" id="{5E87D674-EC2E-79A5-DFF9-AA5E9B44E029}"/>
              </a:ext>
            </a:extLst>
          </p:cNvPr>
          <p:cNvSpPr/>
          <p:nvPr/>
        </p:nvSpPr>
        <p:spPr>
          <a:xfrm>
            <a:off x="7351745" y="4736437"/>
            <a:ext cx="2087878" cy="1259928"/>
          </a:xfrm>
          <a:prstGeom prst="roundRect">
            <a:avLst>
              <a:gd name="adj" fmla="val 9914"/>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t" anchorCtr="0" forceAA="0" compatLnSpc="1">
            <a:prstTxWarp prst="textNoShape">
              <a:avLst/>
            </a:prstTxWarp>
            <a:noAutofit/>
          </a:bodyPr>
          <a:lstStyle/>
          <a:p>
            <a:pPr marL="0" marR="0" lvl="0" indent="0" algn="ctr" defTabSz="1088558" rtl="0" eaLnBrk="1" fontAlgn="auto" latinLnBrk="0" hangingPunct="1">
              <a:lnSpc>
                <a:spcPct val="100000"/>
              </a:lnSpc>
              <a:spcBef>
                <a:spcPts val="0"/>
              </a:spcBef>
              <a:spcAft>
                <a:spcPts val="300"/>
              </a:spcAft>
              <a:buClrTx/>
              <a:buSzTx/>
              <a:buFontTx/>
              <a:buNone/>
              <a:tabLst/>
              <a:defRPr/>
            </a:pPr>
            <a:r>
              <a:rPr kumimoji="0" lang="fi-FI" sz="1600" b="1" i="0" u="none" strike="noStrike" kern="1200" cap="none" spc="0" normalizeH="0" baseline="0" noProof="0" dirty="0">
                <a:ln>
                  <a:noFill/>
                </a:ln>
                <a:solidFill>
                  <a:srgbClr val="40BFA3"/>
                </a:solidFill>
                <a:effectLst/>
                <a:uLnTx/>
                <a:uFillTx/>
                <a:latin typeface="Nordea Sans Large Bold" panose="00000800000000000000" pitchFamily="50" charset="0"/>
                <a:ea typeface="+mn-ea"/>
                <a:cs typeface="+mn-cs"/>
              </a:rPr>
              <a:t>Kaksin-kertaistamme</a:t>
            </a:r>
            <a:r>
              <a:rPr kumimoji="0" lang="fi-FI" sz="1600" b="0" i="0" u="none" strike="noStrike" kern="1200" cap="none" spc="0" normalizeH="0" baseline="0" noProof="0" dirty="0">
                <a:ln>
                  <a:noFill/>
                </a:ln>
                <a:solidFill>
                  <a:srgbClr val="40BFA3"/>
                </a:solidFill>
                <a:effectLst/>
                <a:uLnTx/>
                <a:uFillTx/>
                <a:latin typeface="Nordea Sans Large Light" panose="00000400000000000000" pitchFamily="50" charset="0"/>
                <a:ea typeface="+mn-ea"/>
                <a:cs typeface="+mn-cs"/>
              </a:rPr>
              <a:t> </a:t>
            </a:r>
          </a:p>
          <a:p>
            <a:pPr marL="0" marR="0" lvl="0" indent="0" algn="ctr" defTabSz="1088558" rtl="0" eaLnBrk="1" fontAlgn="auto" latinLnBrk="0" hangingPunct="1">
              <a:lnSpc>
                <a:spcPct val="100000"/>
              </a:lnSpc>
              <a:spcBef>
                <a:spcPts val="0"/>
              </a:spcBef>
              <a:spcAft>
                <a:spcPts val="0"/>
              </a:spcAft>
              <a:buClrTx/>
              <a:buSzTx/>
              <a:buFontTx/>
              <a:buNone/>
              <a:tabLst/>
              <a:defRPr/>
            </a:pPr>
            <a:r>
              <a:rPr kumimoji="0" lang="fi-FI" sz="1050" b="0" i="0" u="none" strike="noStrike" kern="1200" cap="none" spc="0" normalizeH="0" baseline="0" noProof="0" dirty="0">
                <a:ln>
                  <a:noFill/>
                </a:ln>
                <a:solidFill>
                  <a:srgbClr val="FBD9CA"/>
                </a:solidFill>
                <a:effectLst/>
                <a:uLnTx/>
                <a:uFillTx/>
                <a:latin typeface="Nordea Sans Large Light" panose="00000400000000000000" pitchFamily="50" charset="0"/>
                <a:ea typeface="+mn-ea"/>
                <a:cs typeface="+mn-cs"/>
              </a:rPr>
              <a:t>hoidossamme olevasta varallisuudesta sen osuuden, jossa on sitouduttu nettonollapäästöihin</a:t>
            </a:r>
          </a:p>
        </p:txBody>
      </p:sp>
      <p:sp>
        <p:nvSpPr>
          <p:cNvPr id="15" name="Oval 14">
            <a:extLst>
              <a:ext uri="{FF2B5EF4-FFF2-40B4-BE49-F238E27FC236}">
                <a16:creationId xmlns:a16="http://schemas.microsoft.com/office/drawing/2014/main" id="{A7D917EF-7D94-5E4E-B127-13185CC97629}"/>
              </a:ext>
            </a:extLst>
          </p:cNvPr>
          <p:cNvSpPr/>
          <p:nvPr/>
        </p:nvSpPr>
        <p:spPr>
          <a:xfrm>
            <a:off x="4829103" y="1753226"/>
            <a:ext cx="323982" cy="323982"/>
          </a:xfrm>
          <a:prstGeom prst="ellipse">
            <a:avLst/>
          </a:prstGeom>
          <a:solidFill>
            <a:schemeClr val="accent2">
              <a:lumMod val="20000"/>
              <a:lumOff val="80000"/>
            </a:schemeClr>
          </a:solidFill>
          <a:ln>
            <a:solidFill>
              <a:srgbClr val="00005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srgbClr val="00005E"/>
                </a:solidFill>
                <a:effectLst/>
                <a:uLnTx/>
                <a:uFillTx/>
                <a:latin typeface="Bahnschrift Light Condensed" panose="020B0502040204020203" pitchFamily="34" charset="0"/>
                <a:ea typeface="+mn-ea"/>
                <a:cs typeface="+mn-cs"/>
              </a:rPr>
              <a:t>CO</a:t>
            </a:r>
            <a:r>
              <a:rPr kumimoji="0" lang="fi-FI" sz="1798" b="0" i="0" u="none" strike="noStrike" kern="1200" cap="none" spc="0" normalizeH="0" baseline="-25000" noProof="0">
                <a:ln>
                  <a:noFill/>
                </a:ln>
                <a:solidFill>
                  <a:srgbClr val="00005E"/>
                </a:solidFill>
                <a:effectLst/>
                <a:uLnTx/>
                <a:uFillTx/>
                <a:latin typeface="Bahnschrift Light Condensed" panose="020B0502040204020203" pitchFamily="34" charset="0"/>
                <a:ea typeface="+mn-ea"/>
                <a:cs typeface="+mn-cs"/>
              </a:rPr>
              <a:t>2</a:t>
            </a:r>
          </a:p>
        </p:txBody>
      </p:sp>
      <p:cxnSp>
        <p:nvCxnSpPr>
          <p:cNvPr id="16" name="Straight Connector 15">
            <a:extLst>
              <a:ext uri="{FF2B5EF4-FFF2-40B4-BE49-F238E27FC236}">
                <a16:creationId xmlns:a16="http://schemas.microsoft.com/office/drawing/2014/main" id="{4E3C5326-4138-AEE5-40D6-E4A4CE6D30ED}"/>
              </a:ext>
            </a:extLst>
          </p:cNvPr>
          <p:cNvCxnSpPr>
            <a:cxnSpLocks/>
            <a:stCxn id="15" idx="7"/>
            <a:endCxn id="15" idx="3"/>
          </p:cNvCxnSpPr>
          <p:nvPr/>
        </p:nvCxnSpPr>
        <p:spPr>
          <a:xfrm flipH="1">
            <a:off x="4876549" y="1800672"/>
            <a:ext cx="229090" cy="229090"/>
          </a:xfrm>
          <a:prstGeom prst="line">
            <a:avLst/>
          </a:prstGeom>
          <a:ln w="9525">
            <a:solidFill>
              <a:srgbClr val="00005E"/>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790A32D9-A2EC-127F-1308-10B366CC45D5}"/>
              </a:ext>
            </a:extLst>
          </p:cNvPr>
          <p:cNvSpPr/>
          <p:nvPr/>
        </p:nvSpPr>
        <p:spPr>
          <a:xfrm>
            <a:off x="521703" y="1381526"/>
            <a:ext cx="4412632" cy="215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kumimoji="0" lang="fi-FI" sz="1600" b="0" i="0" u="none" strike="noStrike" kern="1200" cap="none" spc="0" normalizeH="0" baseline="0" noProof="0">
                <a:ln>
                  <a:noFill/>
                </a:ln>
                <a:solidFill>
                  <a:srgbClr val="00005E"/>
                </a:solidFill>
                <a:effectLst/>
                <a:uLnTx/>
                <a:uFillTx/>
                <a:latin typeface="Nordea Sans Large Bold" panose="00000800000000000000" pitchFamily="50" charset="0"/>
                <a:ea typeface="+mn-ea"/>
                <a:cs typeface="+mn-cs"/>
              </a:rPr>
              <a:t>Pitkän aikavälin tavoite vuodelle 2050:</a:t>
            </a:r>
          </a:p>
        </p:txBody>
      </p:sp>
      <p:sp>
        <p:nvSpPr>
          <p:cNvPr id="18" name="Rectangle 17">
            <a:extLst>
              <a:ext uri="{FF2B5EF4-FFF2-40B4-BE49-F238E27FC236}">
                <a16:creationId xmlns:a16="http://schemas.microsoft.com/office/drawing/2014/main" id="{8E4D74B8-65F6-58A7-CD5D-69558FABCA5F}"/>
              </a:ext>
            </a:extLst>
          </p:cNvPr>
          <p:cNvSpPr/>
          <p:nvPr/>
        </p:nvSpPr>
        <p:spPr>
          <a:xfrm>
            <a:off x="521703" y="4521949"/>
            <a:ext cx="4412632" cy="215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kumimoji="0" lang="fi-FI" sz="1600" b="0" i="0" u="none" strike="noStrike" kern="1200" cap="none" spc="0" normalizeH="0" baseline="0" noProof="0">
                <a:ln>
                  <a:noFill/>
                </a:ln>
                <a:solidFill>
                  <a:srgbClr val="00005E"/>
                </a:solidFill>
                <a:effectLst/>
                <a:uLnTx/>
                <a:uFillTx/>
                <a:latin typeface="Nordea Sans Large Bold" panose="00000800000000000000" pitchFamily="50" charset="0"/>
                <a:ea typeface="+mn-ea"/>
                <a:cs typeface="+mn-cs"/>
              </a:rPr>
              <a:t>Tukena vuodelle 2025 asetetut tavoitteet</a:t>
            </a:r>
            <a:r>
              <a:rPr kumimoji="0" lang="fi-FI" sz="1600" b="0" i="0" u="none" strike="noStrike" kern="1200" cap="none" spc="0" normalizeH="0" baseline="30000" noProof="0">
                <a:ln>
                  <a:noFill/>
                </a:ln>
                <a:solidFill>
                  <a:srgbClr val="00005E"/>
                </a:solidFill>
                <a:effectLst/>
                <a:uLnTx/>
                <a:uFillTx/>
                <a:latin typeface="Nordea Sans Large Bold" panose="00000800000000000000" pitchFamily="50" charset="0"/>
                <a:ea typeface="+mn-ea"/>
                <a:cs typeface="+mn-cs"/>
              </a:rPr>
              <a:t>2</a:t>
            </a:r>
            <a:r>
              <a:rPr kumimoji="0" lang="fi-FI" sz="1600" b="0" i="0" u="none" strike="noStrike" kern="1200" cap="none" spc="0" normalizeH="0" baseline="0" noProof="0">
                <a:ln>
                  <a:noFill/>
                </a:ln>
                <a:solidFill>
                  <a:srgbClr val="00005E"/>
                </a:solidFill>
                <a:effectLst/>
                <a:uLnTx/>
                <a:uFillTx/>
                <a:latin typeface="Nordea Sans Large Bold" panose="00000800000000000000" pitchFamily="50" charset="0"/>
                <a:ea typeface="+mn-ea"/>
                <a:cs typeface="+mn-cs"/>
              </a:rPr>
              <a:t>:</a:t>
            </a:r>
          </a:p>
        </p:txBody>
      </p:sp>
      <p:sp>
        <p:nvSpPr>
          <p:cNvPr id="19" name="Freeform 35">
            <a:extLst>
              <a:ext uri="{FF2B5EF4-FFF2-40B4-BE49-F238E27FC236}">
                <a16:creationId xmlns:a16="http://schemas.microsoft.com/office/drawing/2014/main" id="{44316A8C-9489-4F7C-AEA3-FEBC1D7DF42B}"/>
              </a:ext>
            </a:extLst>
          </p:cNvPr>
          <p:cNvSpPr>
            <a:spLocks/>
          </p:cNvSpPr>
          <p:nvPr/>
        </p:nvSpPr>
        <p:spPr bwMode="auto">
          <a:xfrm rot="676961">
            <a:off x="2150668" y="3323821"/>
            <a:ext cx="323982" cy="179990"/>
          </a:xfrm>
          <a:custGeom>
            <a:avLst/>
            <a:gdLst>
              <a:gd name="T0" fmla="*/ 658915727 w 256"/>
              <a:gd name="T1" fmla="*/ 152368336 h 128"/>
              <a:gd name="T2" fmla="*/ 626511247 w 256"/>
              <a:gd name="T3" fmla="*/ 185020343 h 128"/>
              <a:gd name="T4" fmla="*/ 626511247 w 256"/>
              <a:gd name="T5" fmla="*/ 236715918 h 128"/>
              <a:gd name="T6" fmla="*/ 464482278 w 256"/>
              <a:gd name="T7" fmla="*/ 73464129 h 128"/>
              <a:gd name="T8" fmla="*/ 399670033 w 256"/>
              <a:gd name="T9" fmla="*/ 10883453 h 128"/>
              <a:gd name="T10" fmla="*/ 378067047 w 256"/>
              <a:gd name="T11" fmla="*/ 0 h 128"/>
              <a:gd name="T12" fmla="*/ 356462418 w 256"/>
              <a:gd name="T13" fmla="*/ 10883453 h 128"/>
              <a:gd name="T14" fmla="*/ 205236585 w 256"/>
              <a:gd name="T15" fmla="*/ 160531750 h 128"/>
              <a:gd name="T16" fmla="*/ 54009109 w 256"/>
              <a:gd name="T17" fmla="*/ 10883453 h 128"/>
              <a:gd name="T18" fmla="*/ 32406123 w 256"/>
              <a:gd name="T19" fmla="*/ 0 h 128"/>
              <a:gd name="T20" fmla="*/ 0 w 256"/>
              <a:gd name="T21" fmla="*/ 32650358 h 128"/>
              <a:gd name="T22" fmla="*/ 10801493 w 256"/>
              <a:gd name="T23" fmla="*/ 54417263 h 128"/>
              <a:gd name="T24" fmla="*/ 183631955 w 256"/>
              <a:gd name="T25" fmla="*/ 228554153 h 128"/>
              <a:gd name="T26" fmla="*/ 205236585 w 256"/>
              <a:gd name="T27" fmla="*/ 239437606 h 128"/>
              <a:gd name="T28" fmla="*/ 226839571 w 256"/>
              <a:gd name="T29" fmla="*/ 228554153 h 128"/>
              <a:gd name="T30" fmla="*/ 378067047 w 256"/>
              <a:gd name="T31" fmla="*/ 78905856 h 128"/>
              <a:gd name="T32" fmla="*/ 418573057 w 256"/>
              <a:gd name="T33" fmla="*/ 119717978 h 128"/>
              <a:gd name="T34" fmla="*/ 423974625 w 256"/>
              <a:gd name="T35" fmla="*/ 125159704 h 128"/>
              <a:gd name="T36" fmla="*/ 442877649 w 256"/>
              <a:gd name="T37" fmla="*/ 141484883 h 128"/>
              <a:gd name="T38" fmla="*/ 580602026 w 256"/>
              <a:gd name="T39" fmla="*/ 282971416 h 128"/>
              <a:gd name="T40" fmla="*/ 529292880 w 256"/>
              <a:gd name="T41" fmla="*/ 282971416 h 128"/>
              <a:gd name="T42" fmla="*/ 496888401 w 256"/>
              <a:gd name="T43" fmla="*/ 315621773 h 128"/>
              <a:gd name="T44" fmla="*/ 529292880 w 256"/>
              <a:gd name="T45" fmla="*/ 348272131 h 128"/>
              <a:gd name="T46" fmla="*/ 658915727 w 256"/>
              <a:gd name="T47" fmla="*/ 348272131 h 128"/>
              <a:gd name="T48" fmla="*/ 691321849 w 256"/>
              <a:gd name="T49" fmla="*/ 315621773 h 128"/>
              <a:gd name="T50" fmla="*/ 691321849 w 256"/>
              <a:gd name="T51" fmla="*/ 185020343 h 128"/>
              <a:gd name="T52" fmla="*/ 658915727 w 256"/>
              <a:gd name="T53" fmla="*/ 152368336 h 12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56" h="128">
                <a:moveTo>
                  <a:pt x="244" y="56"/>
                </a:moveTo>
                <a:cubicBezTo>
                  <a:pt x="237" y="56"/>
                  <a:pt x="232" y="61"/>
                  <a:pt x="232" y="68"/>
                </a:cubicBezTo>
                <a:cubicBezTo>
                  <a:pt x="232" y="87"/>
                  <a:pt x="232" y="87"/>
                  <a:pt x="232" y="87"/>
                </a:cubicBezTo>
                <a:cubicBezTo>
                  <a:pt x="172" y="27"/>
                  <a:pt x="172" y="27"/>
                  <a:pt x="172" y="27"/>
                </a:cubicBezTo>
                <a:cubicBezTo>
                  <a:pt x="148" y="4"/>
                  <a:pt x="148" y="4"/>
                  <a:pt x="148" y="4"/>
                </a:cubicBezTo>
                <a:cubicBezTo>
                  <a:pt x="146" y="1"/>
                  <a:pt x="143" y="0"/>
                  <a:pt x="140" y="0"/>
                </a:cubicBezTo>
                <a:cubicBezTo>
                  <a:pt x="137" y="0"/>
                  <a:pt x="134" y="1"/>
                  <a:pt x="132" y="4"/>
                </a:cubicBezTo>
                <a:cubicBezTo>
                  <a:pt x="76" y="59"/>
                  <a:pt x="76" y="59"/>
                  <a:pt x="76" y="59"/>
                </a:cubicBezTo>
                <a:cubicBezTo>
                  <a:pt x="20" y="4"/>
                  <a:pt x="20" y="4"/>
                  <a:pt x="20" y="4"/>
                </a:cubicBezTo>
                <a:cubicBezTo>
                  <a:pt x="18" y="1"/>
                  <a:pt x="15" y="0"/>
                  <a:pt x="12" y="0"/>
                </a:cubicBezTo>
                <a:cubicBezTo>
                  <a:pt x="5" y="0"/>
                  <a:pt x="0" y="5"/>
                  <a:pt x="0" y="12"/>
                </a:cubicBezTo>
                <a:cubicBezTo>
                  <a:pt x="0" y="15"/>
                  <a:pt x="1" y="18"/>
                  <a:pt x="4" y="20"/>
                </a:cubicBezTo>
                <a:cubicBezTo>
                  <a:pt x="68" y="84"/>
                  <a:pt x="68" y="84"/>
                  <a:pt x="68" y="84"/>
                </a:cubicBezTo>
                <a:cubicBezTo>
                  <a:pt x="70" y="87"/>
                  <a:pt x="73" y="88"/>
                  <a:pt x="76" y="88"/>
                </a:cubicBezTo>
                <a:cubicBezTo>
                  <a:pt x="79" y="88"/>
                  <a:pt x="82" y="87"/>
                  <a:pt x="84" y="84"/>
                </a:cubicBezTo>
                <a:cubicBezTo>
                  <a:pt x="140" y="29"/>
                  <a:pt x="140" y="29"/>
                  <a:pt x="140" y="29"/>
                </a:cubicBezTo>
                <a:cubicBezTo>
                  <a:pt x="155" y="44"/>
                  <a:pt x="155" y="44"/>
                  <a:pt x="155" y="44"/>
                </a:cubicBezTo>
                <a:cubicBezTo>
                  <a:pt x="157" y="46"/>
                  <a:pt x="157" y="46"/>
                  <a:pt x="157" y="46"/>
                </a:cubicBezTo>
                <a:cubicBezTo>
                  <a:pt x="164" y="52"/>
                  <a:pt x="164" y="52"/>
                  <a:pt x="164" y="52"/>
                </a:cubicBezTo>
                <a:cubicBezTo>
                  <a:pt x="215" y="104"/>
                  <a:pt x="215" y="104"/>
                  <a:pt x="215" y="104"/>
                </a:cubicBezTo>
                <a:cubicBezTo>
                  <a:pt x="196" y="104"/>
                  <a:pt x="196" y="104"/>
                  <a:pt x="196" y="104"/>
                </a:cubicBezTo>
                <a:cubicBezTo>
                  <a:pt x="189" y="104"/>
                  <a:pt x="184" y="109"/>
                  <a:pt x="184" y="116"/>
                </a:cubicBezTo>
                <a:cubicBezTo>
                  <a:pt x="184" y="123"/>
                  <a:pt x="189" y="128"/>
                  <a:pt x="196" y="128"/>
                </a:cubicBezTo>
                <a:cubicBezTo>
                  <a:pt x="244" y="128"/>
                  <a:pt x="244" y="128"/>
                  <a:pt x="244" y="128"/>
                </a:cubicBezTo>
                <a:cubicBezTo>
                  <a:pt x="251" y="128"/>
                  <a:pt x="256" y="123"/>
                  <a:pt x="256" y="116"/>
                </a:cubicBezTo>
                <a:cubicBezTo>
                  <a:pt x="256" y="68"/>
                  <a:pt x="256" y="68"/>
                  <a:pt x="256" y="68"/>
                </a:cubicBezTo>
                <a:cubicBezTo>
                  <a:pt x="256" y="61"/>
                  <a:pt x="251" y="56"/>
                  <a:pt x="244" y="56"/>
                </a:cubicBezTo>
              </a:path>
            </a:pathLst>
          </a:custGeom>
          <a:solidFill>
            <a:schemeClr val="accent2">
              <a:lumMod val="20000"/>
              <a:lumOff val="80000"/>
            </a:schemeClr>
          </a:solidFill>
          <a:ln>
            <a:noFill/>
          </a:ln>
        </p:spPr>
        <p: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endParaRPr kumimoji="0" lang="en-GB" sz="2098" b="0" i="0" u="none" strike="noStrike" kern="1200" cap="none" spc="0" normalizeH="0" baseline="0" noProof="0">
              <a:ln>
                <a:noFill/>
              </a:ln>
              <a:solidFill>
                <a:prstClr val="black"/>
              </a:solidFill>
              <a:effectLst/>
              <a:uLnTx/>
              <a:uFillTx/>
              <a:latin typeface="Arial"/>
              <a:ea typeface="+mn-ea"/>
              <a:cs typeface="+mn-cs"/>
            </a:endParaRPr>
          </a:p>
        </p:txBody>
      </p:sp>
      <p:cxnSp>
        <p:nvCxnSpPr>
          <p:cNvPr id="20" name="Straight Connector 19">
            <a:extLst>
              <a:ext uri="{FF2B5EF4-FFF2-40B4-BE49-F238E27FC236}">
                <a16:creationId xmlns:a16="http://schemas.microsoft.com/office/drawing/2014/main" id="{53EC0674-35B8-B23E-8BC5-85A2F3340A8C}"/>
              </a:ext>
            </a:extLst>
          </p:cNvPr>
          <p:cNvCxnSpPr/>
          <p:nvPr/>
        </p:nvCxnSpPr>
        <p:spPr>
          <a:xfrm flipH="1">
            <a:off x="2147622" y="3575465"/>
            <a:ext cx="323982" cy="0"/>
          </a:xfrm>
          <a:prstGeom prst="line">
            <a:avLst/>
          </a:prstGeom>
          <a:ln w="38100">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ACE9C701-2FBB-A6E9-710F-3B4A58B38BA8}"/>
              </a:ext>
            </a:extLst>
          </p:cNvPr>
          <p:cNvGrpSpPr/>
          <p:nvPr/>
        </p:nvGrpSpPr>
        <p:grpSpPr>
          <a:xfrm>
            <a:off x="8105750" y="3229565"/>
            <a:ext cx="323982" cy="323982"/>
            <a:chOff x="1256775" y="4750405"/>
            <a:chExt cx="540000" cy="540000"/>
          </a:xfrm>
        </p:grpSpPr>
        <p:sp>
          <p:nvSpPr>
            <p:cNvPr id="22" name="Freeform 170">
              <a:extLst>
                <a:ext uri="{FF2B5EF4-FFF2-40B4-BE49-F238E27FC236}">
                  <a16:creationId xmlns:a16="http://schemas.microsoft.com/office/drawing/2014/main" id="{D8C66416-C21C-1BBC-30AF-48300CD6E934}"/>
                </a:ext>
              </a:extLst>
            </p:cNvPr>
            <p:cNvSpPr>
              <a:spLocks/>
            </p:cNvSpPr>
            <p:nvPr/>
          </p:nvSpPr>
          <p:spPr bwMode="auto">
            <a:xfrm>
              <a:off x="1256775" y="4750405"/>
              <a:ext cx="540000" cy="540000"/>
            </a:xfrm>
            <a:custGeom>
              <a:avLst/>
              <a:gdLst>
                <a:gd name="T0" fmla="*/ 668031321 w 116"/>
                <a:gd name="T1" fmla="*/ 203863602 h 117"/>
                <a:gd name="T2" fmla="*/ 668031321 w 116"/>
                <a:gd name="T3" fmla="*/ 197288432 h 117"/>
                <a:gd name="T4" fmla="*/ 537043081 w 116"/>
                <a:gd name="T5" fmla="*/ 52609052 h 117"/>
                <a:gd name="T6" fmla="*/ 432255560 w 116"/>
                <a:gd name="T7" fmla="*/ 0 h 117"/>
                <a:gd name="T8" fmla="*/ 307818780 w 116"/>
                <a:gd name="T9" fmla="*/ 72339690 h 117"/>
                <a:gd name="T10" fmla="*/ 242324660 w 116"/>
                <a:gd name="T11" fmla="*/ 52609052 h 117"/>
                <a:gd name="T12" fmla="*/ 98238621 w 116"/>
                <a:gd name="T13" fmla="*/ 197288432 h 117"/>
                <a:gd name="T14" fmla="*/ 98238621 w 116"/>
                <a:gd name="T15" fmla="*/ 203863602 h 117"/>
                <a:gd name="T16" fmla="*/ 0 w 116"/>
                <a:gd name="T17" fmla="*/ 335387513 h 117"/>
                <a:gd name="T18" fmla="*/ 144086040 w 116"/>
                <a:gd name="T19" fmla="*/ 480066893 h 117"/>
                <a:gd name="T20" fmla="*/ 216126501 w 116"/>
                <a:gd name="T21" fmla="*/ 460336255 h 117"/>
                <a:gd name="T22" fmla="*/ 288169521 w 116"/>
                <a:gd name="T23" fmla="*/ 480066893 h 117"/>
                <a:gd name="T24" fmla="*/ 334014381 w 116"/>
                <a:gd name="T25" fmla="*/ 473489159 h 117"/>
                <a:gd name="T26" fmla="*/ 334014381 w 116"/>
                <a:gd name="T27" fmla="*/ 716811473 h 117"/>
                <a:gd name="T28" fmla="*/ 288169521 w 116"/>
                <a:gd name="T29" fmla="*/ 716811473 h 117"/>
                <a:gd name="T30" fmla="*/ 288169521 w 116"/>
                <a:gd name="T31" fmla="*/ 769420525 h 117"/>
                <a:gd name="T32" fmla="*/ 478100421 w 116"/>
                <a:gd name="T33" fmla="*/ 769420525 h 117"/>
                <a:gd name="T34" fmla="*/ 478100421 w 116"/>
                <a:gd name="T35" fmla="*/ 716811473 h 117"/>
                <a:gd name="T36" fmla="*/ 432255560 w 116"/>
                <a:gd name="T37" fmla="*/ 716811473 h 117"/>
                <a:gd name="T38" fmla="*/ 432255560 w 116"/>
                <a:gd name="T39" fmla="*/ 480066893 h 117"/>
                <a:gd name="T40" fmla="*/ 451902261 w 116"/>
                <a:gd name="T41" fmla="*/ 480066893 h 117"/>
                <a:gd name="T42" fmla="*/ 478100421 w 116"/>
                <a:gd name="T43" fmla="*/ 480066893 h 117"/>
                <a:gd name="T44" fmla="*/ 550143441 w 116"/>
                <a:gd name="T45" fmla="*/ 460336255 h 117"/>
                <a:gd name="T46" fmla="*/ 622186461 w 116"/>
                <a:gd name="T47" fmla="*/ 480066893 h 117"/>
                <a:gd name="T48" fmla="*/ 759721041 w 116"/>
                <a:gd name="T49" fmla="*/ 335387513 h 117"/>
                <a:gd name="T50" fmla="*/ 668031321 w 116"/>
                <a:gd name="T51" fmla="*/ 203863602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6" h="117">
                  <a:moveTo>
                    <a:pt x="102" y="31"/>
                  </a:moveTo>
                  <a:cubicBezTo>
                    <a:pt x="102" y="30"/>
                    <a:pt x="102" y="30"/>
                    <a:pt x="102" y="30"/>
                  </a:cubicBezTo>
                  <a:cubicBezTo>
                    <a:pt x="102" y="18"/>
                    <a:pt x="93" y="9"/>
                    <a:pt x="82" y="8"/>
                  </a:cubicBezTo>
                  <a:cubicBezTo>
                    <a:pt x="78" y="3"/>
                    <a:pt x="72" y="0"/>
                    <a:pt x="66" y="0"/>
                  </a:cubicBezTo>
                  <a:cubicBezTo>
                    <a:pt x="58" y="0"/>
                    <a:pt x="51" y="5"/>
                    <a:pt x="47" y="11"/>
                  </a:cubicBezTo>
                  <a:cubicBezTo>
                    <a:pt x="44" y="9"/>
                    <a:pt x="40" y="8"/>
                    <a:pt x="37" y="8"/>
                  </a:cubicBezTo>
                  <a:cubicBezTo>
                    <a:pt x="24" y="8"/>
                    <a:pt x="15" y="17"/>
                    <a:pt x="15" y="30"/>
                  </a:cubicBezTo>
                  <a:cubicBezTo>
                    <a:pt x="15" y="30"/>
                    <a:pt x="15" y="30"/>
                    <a:pt x="15" y="31"/>
                  </a:cubicBezTo>
                  <a:cubicBezTo>
                    <a:pt x="6" y="34"/>
                    <a:pt x="0" y="42"/>
                    <a:pt x="0" y="51"/>
                  </a:cubicBezTo>
                  <a:cubicBezTo>
                    <a:pt x="0" y="63"/>
                    <a:pt x="10" y="73"/>
                    <a:pt x="22" y="73"/>
                  </a:cubicBezTo>
                  <a:cubicBezTo>
                    <a:pt x="26" y="73"/>
                    <a:pt x="30" y="72"/>
                    <a:pt x="33" y="70"/>
                  </a:cubicBezTo>
                  <a:cubicBezTo>
                    <a:pt x="36" y="72"/>
                    <a:pt x="40" y="73"/>
                    <a:pt x="44" y="73"/>
                  </a:cubicBezTo>
                  <a:cubicBezTo>
                    <a:pt x="46" y="73"/>
                    <a:pt x="49" y="73"/>
                    <a:pt x="51" y="72"/>
                  </a:cubicBezTo>
                  <a:cubicBezTo>
                    <a:pt x="51" y="109"/>
                    <a:pt x="51" y="109"/>
                    <a:pt x="51" y="109"/>
                  </a:cubicBezTo>
                  <a:cubicBezTo>
                    <a:pt x="44" y="109"/>
                    <a:pt x="44" y="109"/>
                    <a:pt x="44" y="109"/>
                  </a:cubicBezTo>
                  <a:cubicBezTo>
                    <a:pt x="44" y="117"/>
                    <a:pt x="44" y="117"/>
                    <a:pt x="44" y="117"/>
                  </a:cubicBezTo>
                  <a:cubicBezTo>
                    <a:pt x="73" y="117"/>
                    <a:pt x="73" y="117"/>
                    <a:pt x="73" y="117"/>
                  </a:cubicBezTo>
                  <a:cubicBezTo>
                    <a:pt x="73" y="109"/>
                    <a:pt x="73" y="109"/>
                    <a:pt x="73" y="109"/>
                  </a:cubicBezTo>
                  <a:cubicBezTo>
                    <a:pt x="66" y="109"/>
                    <a:pt x="66" y="109"/>
                    <a:pt x="66" y="109"/>
                  </a:cubicBezTo>
                  <a:cubicBezTo>
                    <a:pt x="66" y="73"/>
                    <a:pt x="66" y="73"/>
                    <a:pt x="66" y="73"/>
                  </a:cubicBezTo>
                  <a:cubicBezTo>
                    <a:pt x="67" y="73"/>
                    <a:pt x="68" y="73"/>
                    <a:pt x="69" y="73"/>
                  </a:cubicBezTo>
                  <a:cubicBezTo>
                    <a:pt x="70" y="73"/>
                    <a:pt x="72" y="73"/>
                    <a:pt x="73" y="73"/>
                  </a:cubicBezTo>
                  <a:cubicBezTo>
                    <a:pt x="77" y="73"/>
                    <a:pt x="80" y="72"/>
                    <a:pt x="84" y="70"/>
                  </a:cubicBezTo>
                  <a:cubicBezTo>
                    <a:pt x="87" y="72"/>
                    <a:pt x="91" y="73"/>
                    <a:pt x="95" y="73"/>
                  </a:cubicBezTo>
                  <a:cubicBezTo>
                    <a:pt x="107" y="73"/>
                    <a:pt x="116" y="63"/>
                    <a:pt x="116" y="51"/>
                  </a:cubicBezTo>
                  <a:cubicBezTo>
                    <a:pt x="116" y="42"/>
                    <a:pt x="110" y="34"/>
                    <a:pt x="102" y="31"/>
                  </a:cubicBezTo>
                  <a:close/>
                </a:path>
              </a:pathLst>
            </a:custGeom>
            <a:solidFill>
              <a:schemeClr val="accent2">
                <a:lumMod val="20000"/>
                <a:lumOff val="80000"/>
              </a:schemeClr>
            </a:solidFill>
            <a:ln>
              <a:noFill/>
            </a:ln>
          </p:spPr>
          <p: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endParaRPr kumimoji="0" lang="en-GB" sz="2098" b="0" i="0" u="none" strike="noStrike" kern="1200" cap="none" spc="0" normalizeH="0" baseline="0" noProof="0">
                <a:ln>
                  <a:noFill/>
                </a:ln>
                <a:solidFill>
                  <a:prstClr val="black"/>
                </a:solidFill>
                <a:effectLst/>
                <a:uLnTx/>
                <a:uFillTx/>
                <a:latin typeface="Nordea Sans Large Light" panose="00000400000000000000" pitchFamily="50" charset="0"/>
                <a:ea typeface="+mn-ea"/>
                <a:cs typeface="+mn-cs"/>
              </a:endParaRPr>
            </a:p>
          </p:txBody>
        </p:sp>
        <p:sp>
          <p:nvSpPr>
            <p:cNvPr id="23" name="Freeform 54">
              <a:extLst>
                <a:ext uri="{FF2B5EF4-FFF2-40B4-BE49-F238E27FC236}">
                  <a16:creationId xmlns:a16="http://schemas.microsoft.com/office/drawing/2014/main" id="{48D9A84D-AA3F-F6AA-6187-F520D2114A2E}"/>
                </a:ext>
              </a:extLst>
            </p:cNvPr>
            <p:cNvSpPr>
              <a:spLocks noChangeArrowheads="1"/>
            </p:cNvSpPr>
            <p:nvPr/>
          </p:nvSpPr>
          <p:spPr bwMode="auto">
            <a:xfrm>
              <a:off x="1418775" y="4847457"/>
              <a:ext cx="216000" cy="216000"/>
            </a:xfrm>
            <a:custGeom>
              <a:avLst/>
              <a:gdLst>
                <a:gd name="T0" fmla="*/ 127496 w 454"/>
                <a:gd name="T1" fmla="*/ 119837 h 453"/>
                <a:gd name="T2" fmla="*/ 127496 w 454"/>
                <a:gd name="T3" fmla="*/ 119837 h 453"/>
                <a:gd name="T4" fmla="*/ 51143 w 454"/>
                <a:gd name="T5" fmla="*/ 124891 h 453"/>
                <a:gd name="T6" fmla="*/ 18008 w 454"/>
                <a:gd name="T7" fmla="*/ 158099 h 453"/>
                <a:gd name="T8" fmla="*/ 2521 w 454"/>
                <a:gd name="T9" fmla="*/ 158099 h 453"/>
                <a:gd name="T10" fmla="*/ 2521 w 454"/>
                <a:gd name="T11" fmla="*/ 142939 h 453"/>
                <a:gd name="T12" fmla="*/ 38177 w 454"/>
                <a:gd name="T13" fmla="*/ 109731 h 453"/>
                <a:gd name="T14" fmla="*/ 43219 w 454"/>
                <a:gd name="T15" fmla="*/ 33208 h 453"/>
                <a:gd name="T16" fmla="*/ 63748 w 454"/>
                <a:gd name="T17" fmla="*/ 12633 h 453"/>
                <a:gd name="T18" fmla="*/ 76354 w 454"/>
                <a:gd name="T19" fmla="*/ 28155 h 453"/>
                <a:gd name="T20" fmla="*/ 101925 w 454"/>
                <a:gd name="T21" fmla="*/ 2527 h 453"/>
                <a:gd name="T22" fmla="*/ 114530 w 454"/>
                <a:gd name="T23" fmla="*/ 2527 h 453"/>
                <a:gd name="T24" fmla="*/ 114530 w 454"/>
                <a:gd name="T25" fmla="*/ 18048 h 453"/>
                <a:gd name="T26" fmla="*/ 91840 w 454"/>
                <a:gd name="T27" fmla="*/ 40788 h 453"/>
                <a:gd name="T28" fmla="*/ 119933 w 454"/>
                <a:gd name="T29" fmla="*/ 68943 h 453"/>
                <a:gd name="T30" fmla="*/ 142623 w 454"/>
                <a:gd name="T31" fmla="*/ 45841 h 453"/>
                <a:gd name="T32" fmla="*/ 157749 w 454"/>
                <a:gd name="T33" fmla="*/ 45841 h 453"/>
                <a:gd name="T34" fmla="*/ 157749 w 454"/>
                <a:gd name="T35" fmla="*/ 61362 h 453"/>
                <a:gd name="T36" fmla="*/ 135059 w 454"/>
                <a:gd name="T37" fmla="*/ 84103 h 453"/>
                <a:gd name="T38" fmla="*/ 147665 w 454"/>
                <a:gd name="T39" fmla="*/ 99624 h 453"/>
                <a:gd name="T40" fmla="*/ 127496 w 454"/>
                <a:gd name="T41" fmla="*/ 119837 h 45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54" h="453">
                  <a:moveTo>
                    <a:pt x="354" y="332"/>
                  </a:moveTo>
                  <a:lnTo>
                    <a:pt x="354" y="332"/>
                  </a:lnTo>
                  <a:cubicBezTo>
                    <a:pt x="297" y="389"/>
                    <a:pt x="205" y="396"/>
                    <a:pt x="142" y="346"/>
                  </a:cubicBezTo>
                  <a:cubicBezTo>
                    <a:pt x="50" y="438"/>
                    <a:pt x="50" y="438"/>
                    <a:pt x="50" y="438"/>
                  </a:cubicBezTo>
                  <a:cubicBezTo>
                    <a:pt x="36" y="452"/>
                    <a:pt x="22" y="452"/>
                    <a:pt x="7" y="438"/>
                  </a:cubicBezTo>
                  <a:cubicBezTo>
                    <a:pt x="0" y="431"/>
                    <a:pt x="0" y="410"/>
                    <a:pt x="7" y="396"/>
                  </a:cubicBezTo>
                  <a:cubicBezTo>
                    <a:pt x="106" y="304"/>
                    <a:pt x="106" y="304"/>
                    <a:pt x="106" y="304"/>
                  </a:cubicBezTo>
                  <a:cubicBezTo>
                    <a:pt x="57" y="240"/>
                    <a:pt x="57" y="148"/>
                    <a:pt x="120" y="92"/>
                  </a:cubicBezTo>
                  <a:cubicBezTo>
                    <a:pt x="177" y="35"/>
                    <a:pt x="177" y="35"/>
                    <a:pt x="177" y="35"/>
                  </a:cubicBezTo>
                  <a:cubicBezTo>
                    <a:pt x="212" y="78"/>
                    <a:pt x="212" y="78"/>
                    <a:pt x="212" y="78"/>
                  </a:cubicBezTo>
                  <a:cubicBezTo>
                    <a:pt x="283" y="7"/>
                    <a:pt x="283" y="7"/>
                    <a:pt x="283" y="7"/>
                  </a:cubicBezTo>
                  <a:cubicBezTo>
                    <a:pt x="290" y="0"/>
                    <a:pt x="311" y="0"/>
                    <a:pt x="318" y="7"/>
                  </a:cubicBezTo>
                  <a:cubicBezTo>
                    <a:pt x="333" y="21"/>
                    <a:pt x="333" y="35"/>
                    <a:pt x="318" y="50"/>
                  </a:cubicBezTo>
                  <a:cubicBezTo>
                    <a:pt x="255" y="113"/>
                    <a:pt x="255" y="113"/>
                    <a:pt x="255" y="113"/>
                  </a:cubicBezTo>
                  <a:cubicBezTo>
                    <a:pt x="333" y="191"/>
                    <a:pt x="333" y="191"/>
                    <a:pt x="333" y="191"/>
                  </a:cubicBezTo>
                  <a:cubicBezTo>
                    <a:pt x="396" y="127"/>
                    <a:pt x="396" y="127"/>
                    <a:pt x="396" y="127"/>
                  </a:cubicBezTo>
                  <a:cubicBezTo>
                    <a:pt x="410" y="120"/>
                    <a:pt x="431" y="120"/>
                    <a:pt x="438" y="127"/>
                  </a:cubicBezTo>
                  <a:cubicBezTo>
                    <a:pt x="453" y="141"/>
                    <a:pt x="453" y="155"/>
                    <a:pt x="438" y="170"/>
                  </a:cubicBezTo>
                  <a:cubicBezTo>
                    <a:pt x="375" y="233"/>
                    <a:pt x="375" y="233"/>
                    <a:pt x="375" y="233"/>
                  </a:cubicBezTo>
                  <a:cubicBezTo>
                    <a:pt x="410" y="276"/>
                    <a:pt x="410" y="276"/>
                    <a:pt x="410" y="276"/>
                  </a:cubicBezTo>
                  <a:lnTo>
                    <a:pt x="354" y="332"/>
                  </a:lnTo>
                </a:path>
              </a:pathLst>
            </a:custGeom>
            <a:solidFill>
              <a:srgbClr val="40BFA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marL="0" marR="0" lvl="0" indent="0" algn="l" defTabSz="1088558" rtl="0" eaLnBrk="1" fontAlgn="auto" latinLnBrk="0" hangingPunct="1">
                <a:lnSpc>
                  <a:spcPct val="100000"/>
                </a:lnSpc>
                <a:spcBef>
                  <a:spcPts val="0"/>
                </a:spcBef>
                <a:spcAft>
                  <a:spcPts val="0"/>
                </a:spcAft>
                <a:buClrTx/>
                <a:buSzTx/>
                <a:buFontTx/>
                <a:buNone/>
                <a:tabLst/>
                <a:defRPr/>
              </a:pPr>
              <a:endParaRPr kumimoji="0" lang="en-GB" sz="2098" b="0" i="0" u="none" strike="noStrike" kern="1200" cap="none" spc="0" normalizeH="0" baseline="0" noProof="0">
                <a:ln>
                  <a:noFill/>
                </a:ln>
                <a:solidFill>
                  <a:prstClr val="black"/>
                </a:solidFill>
                <a:effectLst/>
                <a:uLnTx/>
                <a:uFillTx/>
                <a:latin typeface="Arial"/>
                <a:ea typeface="+mn-ea"/>
                <a:cs typeface="+mn-cs"/>
              </a:endParaRPr>
            </a:p>
          </p:txBody>
        </p:sp>
      </p:grpSp>
      <p:sp>
        <p:nvSpPr>
          <p:cNvPr id="24" name="Freeform 8">
            <a:extLst>
              <a:ext uri="{FF2B5EF4-FFF2-40B4-BE49-F238E27FC236}">
                <a16:creationId xmlns:a16="http://schemas.microsoft.com/office/drawing/2014/main" id="{92154306-5E0F-8D44-F0AF-888D2C0433C3}"/>
              </a:ext>
            </a:extLst>
          </p:cNvPr>
          <p:cNvSpPr>
            <a:spLocks noChangeArrowheads="1"/>
          </p:cNvSpPr>
          <p:nvPr/>
        </p:nvSpPr>
        <p:spPr bwMode="auto">
          <a:xfrm>
            <a:off x="3308494" y="4860579"/>
            <a:ext cx="219063" cy="184140"/>
          </a:xfrm>
          <a:custGeom>
            <a:avLst/>
            <a:gdLst>
              <a:gd name="T0" fmla="*/ 142453 w 609"/>
              <a:gd name="T1" fmla="*/ 76549 h 510"/>
              <a:gd name="T2" fmla="*/ 142453 w 609"/>
              <a:gd name="T3" fmla="*/ 76549 h 510"/>
              <a:gd name="T4" fmla="*/ 114394 w 609"/>
              <a:gd name="T5" fmla="*/ 48746 h 510"/>
              <a:gd name="T6" fmla="*/ 86695 w 609"/>
              <a:gd name="T7" fmla="*/ 48746 h 510"/>
              <a:gd name="T8" fmla="*/ 78781 w 609"/>
              <a:gd name="T9" fmla="*/ 56328 h 510"/>
              <a:gd name="T10" fmla="*/ 51082 w 609"/>
              <a:gd name="T11" fmla="*/ 43329 h 510"/>
              <a:gd name="T12" fmla="*/ 0 w 609"/>
              <a:gd name="T13" fmla="*/ 94603 h 510"/>
              <a:gd name="T14" fmla="*/ 51082 w 609"/>
              <a:gd name="T15" fmla="*/ 142987 h 510"/>
              <a:gd name="T16" fmla="*/ 56118 w 609"/>
              <a:gd name="T17" fmla="*/ 140460 h 510"/>
              <a:gd name="T18" fmla="*/ 101803 w 609"/>
              <a:gd name="T19" fmla="*/ 183789 h 510"/>
              <a:gd name="T20" fmla="*/ 218715 w 609"/>
              <a:gd name="T21" fmla="*/ 79437 h 510"/>
              <a:gd name="T22" fmla="*/ 218715 w 609"/>
              <a:gd name="T23" fmla="*/ 0 h 510"/>
              <a:gd name="T24" fmla="*/ 142453 w 609"/>
              <a:gd name="T25" fmla="*/ 76549 h 510"/>
              <a:gd name="T26" fmla="*/ 51082 w 609"/>
              <a:gd name="T27" fmla="*/ 130349 h 510"/>
              <a:gd name="T28" fmla="*/ 51082 w 609"/>
              <a:gd name="T29" fmla="*/ 130349 h 510"/>
              <a:gd name="T30" fmla="*/ 51082 w 609"/>
              <a:gd name="T31" fmla="*/ 130349 h 510"/>
              <a:gd name="T32" fmla="*/ 12950 w 609"/>
              <a:gd name="T33" fmla="*/ 94603 h 510"/>
              <a:gd name="T34" fmla="*/ 51082 w 609"/>
              <a:gd name="T35" fmla="*/ 56328 h 510"/>
              <a:gd name="T36" fmla="*/ 71226 w 609"/>
              <a:gd name="T37" fmla="*/ 63911 h 510"/>
              <a:gd name="T38" fmla="*/ 86695 w 609"/>
              <a:gd name="T39" fmla="*/ 94603 h 510"/>
              <a:gd name="T40" fmla="*/ 51082 w 609"/>
              <a:gd name="T41" fmla="*/ 130349 h 510"/>
              <a:gd name="T42" fmla="*/ 203607 w 609"/>
              <a:gd name="T43" fmla="*/ 76549 h 510"/>
              <a:gd name="T44" fmla="*/ 203607 w 609"/>
              <a:gd name="T45" fmla="*/ 76549 h 510"/>
              <a:gd name="T46" fmla="*/ 165475 w 609"/>
              <a:gd name="T47" fmla="*/ 112295 h 510"/>
              <a:gd name="T48" fmla="*/ 104321 w 609"/>
              <a:gd name="T49" fmla="*/ 168624 h 510"/>
              <a:gd name="T50" fmla="*/ 71226 w 609"/>
              <a:gd name="T51" fmla="*/ 137932 h 510"/>
              <a:gd name="T52" fmla="*/ 91731 w 609"/>
              <a:gd name="T53" fmla="*/ 117712 h 510"/>
              <a:gd name="T54" fmla="*/ 104321 w 609"/>
              <a:gd name="T55" fmla="*/ 132877 h 510"/>
              <a:gd name="T56" fmla="*/ 150007 w 609"/>
              <a:gd name="T57" fmla="*/ 84492 h 510"/>
              <a:gd name="T58" fmla="*/ 203607 w 609"/>
              <a:gd name="T59" fmla="*/ 30692 h 510"/>
              <a:gd name="T60" fmla="*/ 203607 w 609"/>
              <a:gd name="T61" fmla="*/ 76549 h 51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609" h="510">
                <a:moveTo>
                  <a:pt x="396" y="212"/>
                </a:moveTo>
                <a:lnTo>
                  <a:pt x="396" y="212"/>
                </a:lnTo>
                <a:cubicBezTo>
                  <a:pt x="318" y="135"/>
                  <a:pt x="318" y="135"/>
                  <a:pt x="318" y="135"/>
                </a:cubicBezTo>
                <a:cubicBezTo>
                  <a:pt x="297" y="113"/>
                  <a:pt x="262" y="113"/>
                  <a:pt x="241" y="135"/>
                </a:cubicBezTo>
                <a:cubicBezTo>
                  <a:pt x="219" y="156"/>
                  <a:pt x="219" y="156"/>
                  <a:pt x="219" y="156"/>
                </a:cubicBezTo>
                <a:cubicBezTo>
                  <a:pt x="198" y="135"/>
                  <a:pt x="170" y="120"/>
                  <a:pt x="142" y="120"/>
                </a:cubicBezTo>
                <a:cubicBezTo>
                  <a:pt x="64" y="120"/>
                  <a:pt x="0" y="184"/>
                  <a:pt x="0" y="262"/>
                </a:cubicBezTo>
                <a:cubicBezTo>
                  <a:pt x="0" y="333"/>
                  <a:pt x="64" y="396"/>
                  <a:pt x="142" y="396"/>
                </a:cubicBezTo>
                <a:cubicBezTo>
                  <a:pt x="149" y="396"/>
                  <a:pt x="149" y="389"/>
                  <a:pt x="156" y="389"/>
                </a:cubicBezTo>
                <a:cubicBezTo>
                  <a:pt x="283" y="509"/>
                  <a:pt x="283" y="509"/>
                  <a:pt x="283" y="509"/>
                </a:cubicBezTo>
                <a:cubicBezTo>
                  <a:pt x="608" y="220"/>
                  <a:pt x="608" y="220"/>
                  <a:pt x="608" y="220"/>
                </a:cubicBezTo>
                <a:cubicBezTo>
                  <a:pt x="608" y="0"/>
                  <a:pt x="608" y="0"/>
                  <a:pt x="608" y="0"/>
                </a:cubicBezTo>
                <a:lnTo>
                  <a:pt x="396" y="212"/>
                </a:lnTo>
                <a:close/>
                <a:moveTo>
                  <a:pt x="142" y="361"/>
                </a:moveTo>
                <a:lnTo>
                  <a:pt x="142" y="361"/>
                </a:lnTo>
                <a:cubicBezTo>
                  <a:pt x="85" y="361"/>
                  <a:pt x="36" y="311"/>
                  <a:pt x="36" y="262"/>
                </a:cubicBezTo>
                <a:cubicBezTo>
                  <a:pt x="36" y="205"/>
                  <a:pt x="85" y="156"/>
                  <a:pt x="142" y="156"/>
                </a:cubicBezTo>
                <a:cubicBezTo>
                  <a:pt x="163" y="156"/>
                  <a:pt x="184" y="163"/>
                  <a:pt x="198" y="177"/>
                </a:cubicBezTo>
                <a:cubicBezTo>
                  <a:pt x="226" y="198"/>
                  <a:pt x="241" y="227"/>
                  <a:pt x="241" y="262"/>
                </a:cubicBezTo>
                <a:cubicBezTo>
                  <a:pt x="241" y="311"/>
                  <a:pt x="198" y="361"/>
                  <a:pt x="142" y="361"/>
                </a:cubicBezTo>
                <a:close/>
                <a:moveTo>
                  <a:pt x="566" y="212"/>
                </a:moveTo>
                <a:lnTo>
                  <a:pt x="566" y="212"/>
                </a:lnTo>
                <a:cubicBezTo>
                  <a:pt x="460" y="311"/>
                  <a:pt x="460" y="311"/>
                  <a:pt x="460" y="311"/>
                </a:cubicBezTo>
                <a:cubicBezTo>
                  <a:pt x="290" y="467"/>
                  <a:pt x="290" y="467"/>
                  <a:pt x="290" y="467"/>
                </a:cubicBezTo>
                <a:cubicBezTo>
                  <a:pt x="198" y="382"/>
                  <a:pt x="198" y="382"/>
                  <a:pt x="198" y="382"/>
                </a:cubicBezTo>
                <a:cubicBezTo>
                  <a:pt x="219" y="368"/>
                  <a:pt x="241" y="354"/>
                  <a:pt x="255" y="326"/>
                </a:cubicBezTo>
                <a:cubicBezTo>
                  <a:pt x="290" y="368"/>
                  <a:pt x="290" y="368"/>
                  <a:pt x="290" y="368"/>
                </a:cubicBezTo>
                <a:cubicBezTo>
                  <a:pt x="417" y="234"/>
                  <a:pt x="417" y="234"/>
                  <a:pt x="417" y="234"/>
                </a:cubicBezTo>
                <a:cubicBezTo>
                  <a:pt x="566" y="85"/>
                  <a:pt x="566" y="85"/>
                  <a:pt x="566" y="85"/>
                </a:cubicBezTo>
                <a:lnTo>
                  <a:pt x="566" y="212"/>
                </a:lnTo>
                <a:close/>
              </a:path>
            </a:pathLst>
          </a:custGeom>
          <a:solidFill>
            <a:schemeClr val="accent2">
              <a:lumMod val="20000"/>
              <a:lumOff val="80000"/>
            </a:schemeClr>
          </a:solidFill>
          <a:ln>
            <a:noFill/>
          </a:ln>
          <a:effectLst/>
        </p:spPr>
        <p:txBody>
          <a:bodyPr wrap="none" anchor="ctr"/>
          <a:lstStyle/>
          <a:p>
            <a:pPr marL="0" marR="0" lvl="0" indent="0" algn="l" defTabSz="1088558" rtl="0" eaLnBrk="1" fontAlgn="auto" latinLnBrk="0" hangingPunct="1">
              <a:lnSpc>
                <a:spcPct val="100000"/>
              </a:lnSpc>
              <a:spcBef>
                <a:spcPts val="0"/>
              </a:spcBef>
              <a:spcAft>
                <a:spcPts val="0"/>
              </a:spcAft>
              <a:buClrTx/>
              <a:buSzTx/>
              <a:buFontTx/>
              <a:buNone/>
              <a:tabLst/>
              <a:defRPr/>
            </a:pPr>
            <a:endParaRPr kumimoji="0" lang="en-GB" sz="2098" b="0" i="0" u="none" strike="noStrike" kern="1200" cap="none" spc="0" normalizeH="0" baseline="0" noProof="0">
              <a:ln>
                <a:noFill/>
              </a:ln>
              <a:solidFill>
                <a:prstClr val="black"/>
              </a:solidFill>
              <a:effectLst/>
              <a:uLnTx/>
              <a:uFillTx/>
              <a:latin typeface="Arial"/>
              <a:ea typeface="+mn-ea"/>
              <a:cs typeface="+mn-cs"/>
            </a:endParaRPr>
          </a:p>
        </p:txBody>
      </p:sp>
      <p:sp>
        <p:nvSpPr>
          <p:cNvPr id="25" name="Oval 24">
            <a:extLst>
              <a:ext uri="{FF2B5EF4-FFF2-40B4-BE49-F238E27FC236}">
                <a16:creationId xmlns:a16="http://schemas.microsoft.com/office/drawing/2014/main" id="{83E2A63B-4087-D9F3-331F-ECF13B57FF6B}"/>
              </a:ext>
            </a:extLst>
          </p:cNvPr>
          <p:cNvSpPr/>
          <p:nvPr/>
        </p:nvSpPr>
        <p:spPr>
          <a:xfrm>
            <a:off x="7658304" y="4808657"/>
            <a:ext cx="287984" cy="287984"/>
          </a:xfrm>
          <a:prstGeom prst="ellipse">
            <a:avLst/>
          </a:prstGeom>
          <a:noFill/>
          <a:ln w="635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8" rIns="0" bIns="45718" numCol="1" spcCol="0" rtlCol="0" fromWordArt="0" anchor="ctr" anchorCtr="0" forceAA="0" compatLnSpc="1">
            <a:prstTxWarp prst="textNoShape">
              <a:avLst/>
            </a:prstTxWarp>
            <a:noAutofit/>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kumimoji="0" lang="fi-FI" sz="1050" b="1" i="0" u="none" strike="noStrike" kern="1200" cap="none" spc="0" normalizeH="0" baseline="0" noProof="0" dirty="0">
                <a:ln>
                  <a:noFill/>
                </a:ln>
                <a:solidFill>
                  <a:srgbClr val="3399FF">
                    <a:lumMod val="20000"/>
                    <a:lumOff val="80000"/>
                  </a:srgbClr>
                </a:solidFill>
                <a:effectLst/>
                <a:uLnTx/>
                <a:uFillTx/>
                <a:latin typeface="Nordea Sans Large Light" panose="00000400000000000000" pitchFamily="50" charset="0"/>
                <a:ea typeface="+mn-ea"/>
                <a:cs typeface="+mn-cs"/>
              </a:rPr>
              <a:t>x2</a:t>
            </a:r>
          </a:p>
        </p:txBody>
      </p:sp>
      <p:pic>
        <p:nvPicPr>
          <p:cNvPr id="26" name="Graphic 25" descr="Factory outline">
            <a:extLst>
              <a:ext uri="{FF2B5EF4-FFF2-40B4-BE49-F238E27FC236}">
                <a16:creationId xmlns:a16="http://schemas.microsoft.com/office/drawing/2014/main" id="{12552DB8-71DA-491B-C922-0079BA249D9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24553" y="4772660"/>
            <a:ext cx="323982" cy="323982"/>
          </a:xfrm>
          <a:prstGeom prst="rect">
            <a:avLst/>
          </a:prstGeom>
        </p:spPr>
      </p:pic>
      <p:pic>
        <p:nvPicPr>
          <p:cNvPr id="27" name="Graphic 26" descr="Male profile outline">
            <a:extLst>
              <a:ext uri="{FF2B5EF4-FFF2-40B4-BE49-F238E27FC236}">
                <a16:creationId xmlns:a16="http://schemas.microsoft.com/office/drawing/2014/main" id="{B7CF0EF8-9C7C-DC8D-DB8D-2C3FB9BCA87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00299" y="4826656"/>
            <a:ext cx="251984" cy="251984"/>
          </a:xfrm>
          <a:prstGeom prst="rect">
            <a:avLst/>
          </a:prstGeom>
        </p:spPr>
      </p:pic>
      <p:sp>
        <p:nvSpPr>
          <p:cNvPr id="28" name="TextBox 27">
            <a:extLst>
              <a:ext uri="{FF2B5EF4-FFF2-40B4-BE49-F238E27FC236}">
                <a16:creationId xmlns:a16="http://schemas.microsoft.com/office/drawing/2014/main" id="{D385039B-E14A-EC54-4ED4-95A25249BC9D}"/>
              </a:ext>
            </a:extLst>
          </p:cNvPr>
          <p:cNvSpPr txBox="1"/>
          <p:nvPr/>
        </p:nvSpPr>
        <p:spPr>
          <a:xfrm>
            <a:off x="570204" y="4787963"/>
            <a:ext cx="309700" cy="338554"/>
          </a:xfrm>
          <a:prstGeom prst="rect">
            <a:avLst/>
          </a:prstGeom>
          <a:noFill/>
        </p:spPr>
        <p:txBody>
          <a:bodyPr wrap="none" rtlCol="0">
            <a:spAutoFit/>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99CCFF"/>
                </a:solidFill>
                <a:effectLst/>
                <a:uLnTx/>
                <a:uFillTx/>
                <a:latin typeface="Nordea Sans Large Light" panose="00000400000000000000" pitchFamily="50" charset="0"/>
                <a:ea typeface="+mn-ea"/>
                <a:cs typeface="+mn-cs"/>
              </a:rPr>
              <a:t>€</a:t>
            </a:r>
          </a:p>
        </p:txBody>
      </p:sp>
      <p:sp>
        <p:nvSpPr>
          <p:cNvPr id="29" name="Rectangle 28">
            <a:extLst>
              <a:ext uri="{FF2B5EF4-FFF2-40B4-BE49-F238E27FC236}">
                <a16:creationId xmlns:a16="http://schemas.microsoft.com/office/drawing/2014/main" id="{EF465B40-0285-73F6-74C3-27808EC67A01}"/>
              </a:ext>
            </a:extLst>
          </p:cNvPr>
          <p:cNvSpPr/>
          <p:nvPr/>
        </p:nvSpPr>
        <p:spPr>
          <a:xfrm>
            <a:off x="521703" y="2942452"/>
            <a:ext cx="4412632" cy="215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marL="0" marR="0" lvl="0" indent="0" algn="l" defTabSz="1088558" rtl="0" eaLnBrk="1" fontAlgn="auto" latinLnBrk="0" hangingPunct="1">
              <a:lnSpc>
                <a:spcPct val="100000"/>
              </a:lnSpc>
              <a:spcBef>
                <a:spcPts val="0"/>
              </a:spcBef>
              <a:spcAft>
                <a:spcPts val="0"/>
              </a:spcAft>
              <a:buClrTx/>
              <a:buSzTx/>
              <a:buFontTx/>
              <a:buNone/>
              <a:tabLst/>
              <a:defRPr/>
            </a:pPr>
            <a:r>
              <a:rPr kumimoji="0" lang="fi-FI" sz="1600" b="0" i="0" u="none" strike="noStrike" kern="1200" cap="none" spc="0" normalizeH="0" baseline="0" noProof="0">
                <a:ln>
                  <a:noFill/>
                </a:ln>
                <a:solidFill>
                  <a:srgbClr val="00005E"/>
                </a:solidFill>
                <a:effectLst/>
                <a:uLnTx/>
                <a:uFillTx/>
                <a:latin typeface="Nordea Sans Large Bold" panose="00000800000000000000" pitchFamily="50" charset="0"/>
                <a:ea typeface="+mn-ea"/>
                <a:cs typeface="+mn-cs"/>
              </a:rPr>
              <a:t>Keskipitkän aikavälin tavoite vuodelle 2030:</a:t>
            </a:r>
          </a:p>
        </p:txBody>
      </p:sp>
    </p:spTree>
    <p:extLst>
      <p:ext uri="{BB962C8B-B14F-4D97-AF65-F5344CB8AC3E}">
        <p14:creationId xmlns:p14="http://schemas.microsoft.com/office/powerpoint/2010/main" val="2265022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D382583-3ABD-419B-9C96-81FCD4EB88C7}"/>
              </a:ext>
            </a:extLst>
          </p:cNvPr>
          <p:cNvSpPr>
            <a:spLocks noGrp="1"/>
          </p:cNvSpPr>
          <p:nvPr>
            <p:ph type="title"/>
          </p:nvPr>
        </p:nvSpPr>
        <p:spPr>
          <a:xfrm>
            <a:off x="647997" y="360083"/>
            <a:ext cx="10925693" cy="720167"/>
          </a:xfrm>
        </p:spPr>
        <p:txBody>
          <a:bodyPr/>
          <a:lstStyle/>
          <a:p>
            <a:r>
              <a:rPr lang="fi-FI" sz="2400" dirty="0"/>
              <a:t>Rakennusten energiatehokkuusdirektiivi </a:t>
            </a:r>
            <a:r>
              <a:rPr lang="fi-FI" sz="2400"/>
              <a:t>(Energy </a:t>
            </a:r>
            <a:r>
              <a:rPr lang="fi-FI" sz="2400" dirty="0"/>
              <a:t>Performance of </a:t>
            </a:r>
            <a:r>
              <a:rPr lang="fi-FI" sz="2400" dirty="0" err="1"/>
              <a:t>Buildings</a:t>
            </a:r>
            <a:r>
              <a:rPr lang="fi-FI" sz="2400" dirty="0"/>
              <a:t> Directive) </a:t>
            </a:r>
          </a:p>
        </p:txBody>
      </p:sp>
      <p:sp>
        <p:nvSpPr>
          <p:cNvPr id="14" name="Content Placeholder 1">
            <a:extLst>
              <a:ext uri="{FF2B5EF4-FFF2-40B4-BE49-F238E27FC236}">
                <a16:creationId xmlns:a16="http://schemas.microsoft.com/office/drawing/2014/main" id="{02650B58-278C-C022-117C-514042989C33}"/>
              </a:ext>
            </a:extLst>
          </p:cNvPr>
          <p:cNvSpPr>
            <a:spLocks noGrp="1"/>
          </p:cNvSpPr>
          <p:nvPr>
            <p:ph idx="1"/>
          </p:nvPr>
        </p:nvSpPr>
        <p:spPr>
          <a:xfrm>
            <a:off x="647997" y="1357162"/>
            <a:ext cx="10401806" cy="4717067"/>
          </a:xfrm>
        </p:spPr>
        <p:txBody>
          <a:bodyPr/>
          <a:lstStyle/>
          <a:p>
            <a:r>
              <a:rPr lang="fi-FI" sz="1800" dirty="0"/>
              <a:t>Direktiivi voimaan 28.5.2024. Implementointi kansallisesti 2026.
</a:t>
            </a:r>
            <a:r>
              <a:rPr lang="fi-FI" sz="1800" i="1" dirty="0">
                <a:highlight>
                  <a:srgbClr val="008000"/>
                </a:highlight>
              </a:rPr>
              <a:t>Asuinrakennuskannan energiankäyttö vähenee 16 prosenttia vuoteen 2030 mennessä ja 20–22 prosenttia vuoteen 2035 mennessä</a:t>
            </a:r>
            <a:r>
              <a:rPr lang="fi-FI" sz="1800" dirty="0"/>
              <a:t>
Muiden kuin asuinrakennusten energiakäyttö vähenee 16 prosenttia vuoteen 2030 mennessä ja 26 prosenttia vuoteen 2033 mennessä
Maat määrittelevät omat energiaremonttitoimensa ja EPC-järjestelmänsä
</a:t>
            </a:r>
            <a:r>
              <a:rPr lang="fi-FI" sz="1800" i="1" dirty="0">
                <a:highlight>
                  <a:srgbClr val="008000"/>
                </a:highlight>
              </a:rPr>
              <a:t>Vähintään 55 % peruskorjauksista alimmassa 43 prosentissa rakennuksista </a:t>
            </a:r>
            <a:r>
              <a:rPr lang="fi-FI" sz="1800" dirty="0"/>
              <a:t>
Uudet rakennukset päästöttömiksi paikan päällä viimeistään vuodesta 2030 alkaen
Fossiiliseen polttoaineisiin perustuvasta lämmityksestä luovuttava viimeistään vuoteen 2040 mennessä (Pohjoismaat todennäköisesti aiemmin)
Valtiot jatkavat kunnostustukia/takauksia
Pankkien odotetaan todennäköisesti kehittävän energiaremonttituotteita ja asettavan tavoitteita</a:t>
            </a:r>
            <a:endParaRPr lang="en-US" sz="1800" dirty="0">
              <a:highlight>
                <a:srgbClr val="FFFF00"/>
              </a:highlight>
            </a:endParaRPr>
          </a:p>
        </p:txBody>
      </p:sp>
      <p:sp>
        <p:nvSpPr>
          <p:cNvPr id="2" name="TextBox 1">
            <a:extLst>
              <a:ext uri="{FF2B5EF4-FFF2-40B4-BE49-F238E27FC236}">
                <a16:creationId xmlns:a16="http://schemas.microsoft.com/office/drawing/2014/main" id="{0365D5B8-7BDF-8B07-31B5-9E196D26BEB3}"/>
              </a:ext>
            </a:extLst>
          </p:cNvPr>
          <p:cNvSpPr txBox="1"/>
          <p:nvPr/>
        </p:nvSpPr>
        <p:spPr>
          <a:xfrm>
            <a:off x="7216140" y="6271260"/>
            <a:ext cx="2813591" cy="276999"/>
          </a:xfrm>
          <a:prstGeom prst="rect">
            <a:avLst/>
          </a:prstGeom>
          <a:noFill/>
        </p:spPr>
        <p:txBody>
          <a:bodyPr wrap="none" rtlCol="0">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EPC – Energy Performance Certificate</a:t>
            </a:r>
          </a:p>
        </p:txBody>
      </p:sp>
    </p:spTree>
    <p:extLst>
      <p:ext uri="{BB962C8B-B14F-4D97-AF65-F5344CB8AC3E}">
        <p14:creationId xmlns:p14="http://schemas.microsoft.com/office/powerpoint/2010/main" val="14005567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D382583-3ABD-419B-9C96-81FCD4EB88C7}"/>
              </a:ext>
            </a:extLst>
          </p:cNvPr>
          <p:cNvSpPr>
            <a:spLocks noGrp="1"/>
          </p:cNvSpPr>
          <p:nvPr>
            <p:ph type="title"/>
          </p:nvPr>
        </p:nvSpPr>
        <p:spPr>
          <a:xfrm>
            <a:off x="647997" y="360083"/>
            <a:ext cx="11047613" cy="720167"/>
          </a:xfrm>
        </p:spPr>
        <p:txBody>
          <a:bodyPr/>
          <a:lstStyle/>
          <a:p>
            <a:r>
              <a:rPr lang="fi-FI" sz="2400" dirty="0"/>
              <a:t>Rakennusten energiatehokkuusdirektiivi </a:t>
            </a:r>
          </a:p>
        </p:txBody>
      </p:sp>
      <p:sp>
        <p:nvSpPr>
          <p:cNvPr id="14" name="Content Placeholder 1">
            <a:extLst>
              <a:ext uri="{FF2B5EF4-FFF2-40B4-BE49-F238E27FC236}">
                <a16:creationId xmlns:a16="http://schemas.microsoft.com/office/drawing/2014/main" id="{02650B58-278C-C022-117C-514042989C33}"/>
              </a:ext>
            </a:extLst>
          </p:cNvPr>
          <p:cNvSpPr>
            <a:spLocks noGrp="1"/>
          </p:cNvSpPr>
          <p:nvPr>
            <p:ph idx="1"/>
          </p:nvPr>
        </p:nvSpPr>
        <p:spPr>
          <a:xfrm>
            <a:off x="725000" y="2139097"/>
            <a:ext cx="4786151" cy="2810653"/>
          </a:xfrm>
        </p:spPr>
        <p:txBody>
          <a:bodyPr anchor="t"/>
          <a:lstStyle/>
          <a:p>
            <a:pPr marL="0" indent="0">
              <a:buNone/>
            </a:pPr>
            <a:r>
              <a:rPr lang="fi-FI" b="1" dirty="0"/>
              <a:t>Vaikutus asiakkaisiin
Keskipitkällä ja pitkällä aikavälillä sääntely edellyttää rakennushankkeiden energiatehokkuuden, kiertotalouden ja ympäristönsuojelun lisäämistä. 
Sääntelyvaatimukset lisäävät sekä investointeja vaatimustenmukaisuuden saavuttamiseksi että tuloja. 
Korjausrakentamisen päästöt pienemmät kuin uudisrakentamisen.
Korjaustukia ja takauksia todennäköisesti saatavilla. Erityisesti energiaremonttituottojen odotettiin kasvavan.</a:t>
            </a:r>
            <a:endParaRPr lang="en-US" b="1" dirty="0">
              <a:effectLst/>
            </a:endParaRPr>
          </a:p>
        </p:txBody>
      </p:sp>
      <p:sp>
        <p:nvSpPr>
          <p:cNvPr id="2" name="Isosceles Triangle 1">
            <a:extLst>
              <a:ext uri="{FF2B5EF4-FFF2-40B4-BE49-F238E27FC236}">
                <a16:creationId xmlns:a16="http://schemas.microsoft.com/office/drawing/2014/main" id="{4062024F-71E8-98DC-7FCA-8B6E864E4C16}"/>
              </a:ext>
            </a:extLst>
          </p:cNvPr>
          <p:cNvSpPr/>
          <p:nvPr/>
        </p:nvSpPr>
        <p:spPr>
          <a:xfrm rot="5400000">
            <a:off x="4337759" y="3915397"/>
            <a:ext cx="3631475" cy="3465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
        <p:nvSpPr>
          <p:cNvPr id="5" name="TextBox 4">
            <a:extLst>
              <a:ext uri="{FF2B5EF4-FFF2-40B4-BE49-F238E27FC236}">
                <a16:creationId xmlns:a16="http://schemas.microsoft.com/office/drawing/2014/main" id="{573A9509-5F33-5251-7DB1-68EDA26587EE}"/>
              </a:ext>
            </a:extLst>
          </p:cNvPr>
          <p:cNvSpPr txBox="1"/>
          <p:nvPr/>
        </p:nvSpPr>
        <p:spPr>
          <a:xfrm>
            <a:off x="6618690" y="2408605"/>
            <a:ext cx="4632961" cy="3016210"/>
          </a:xfrm>
          <a:prstGeom prst="rect">
            <a:avLst/>
          </a:prstGeom>
          <a:noFill/>
        </p:spPr>
        <p:txBody>
          <a:bodyPr wrap="square" anchor="t">
            <a:sp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kumimoji="0" lang="fi-FI" sz="1600" b="1" i="0" u="none" strike="noStrike" kern="1200" cap="none" spc="0" normalizeH="0" baseline="0" noProof="0" dirty="0">
                <a:ln>
                  <a:noFill/>
                </a:ln>
                <a:solidFill>
                  <a:srgbClr val="00005E"/>
                </a:solidFill>
                <a:effectLst/>
                <a:uLnTx/>
                <a:uFillTx/>
                <a:latin typeface="Arial"/>
                <a:ea typeface="+mn-ea"/>
                <a:cs typeface="+mn-cs"/>
              </a:rPr>
              <a:t>Nordean vaikutus
Energiatehokkaiden ja ympäristöneutraalien rakennusten rahoittamiseen kiinnitetään entistä enemmän huomiota.
Uusi sääntely lisää investointeja ja Nordean rahoitusmahdollisuuksia.
Uusien viherrakennusten ja peruskorjausten pitkän aikavälin kysyntä edistää Nordean vihreiden omaisuuserien suhdetta ja rahoitettuja päästövähennyksiä</a:t>
            </a:r>
            <a:r>
              <a:rPr kumimoji="0" lang="en-US" sz="1600" b="0" i="0" u="none" strike="noStrike" kern="1200" cap="none" spc="0" normalizeH="0" baseline="0" noProof="0" dirty="0">
                <a:ln>
                  <a:noFill/>
                </a:ln>
                <a:solidFill>
                  <a:srgbClr val="00005E"/>
                </a:solidFill>
                <a:effectLst/>
                <a:uLnTx/>
                <a:uFillTx/>
                <a:latin typeface="Arial"/>
                <a:ea typeface="+mn-ea"/>
                <a:cs typeface="+mn-cs"/>
              </a:rPr>
              <a:t>.</a:t>
            </a:r>
          </a:p>
        </p:txBody>
      </p:sp>
    </p:spTree>
    <p:extLst>
      <p:ext uri="{BB962C8B-B14F-4D97-AF65-F5344CB8AC3E}">
        <p14:creationId xmlns:p14="http://schemas.microsoft.com/office/powerpoint/2010/main" val="17784425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1CD33C-09A7-4846-D75F-9D0EB9910597}"/>
              </a:ext>
            </a:extLst>
          </p:cNvPr>
          <p:cNvSpPr>
            <a:spLocks noGrp="1"/>
          </p:cNvSpPr>
          <p:nvPr>
            <p:ph idx="1"/>
          </p:nvPr>
        </p:nvSpPr>
        <p:spPr>
          <a:xfrm>
            <a:off x="647999" y="1331999"/>
            <a:ext cx="10908000" cy="5167505"/>
          </a:xfrm>
        </p:spPr>
        <p:txBody>
          <a:bodyPr/>
          <a:lstStyle/>
          <a:p>
            <a:r>
              <a:rPr lang="en-GB" dirty="0"/>
              <a:t>Green bond framework (principles) </a:t>
            </a:r>
            <a:r>
              <a:rPr lang="en-GB" dirty="0" err="1"/>
              <a:t>ohjaa</a:t>
            </a:r>
            <a:endParaRPr lang="en-GB" dirty="0"/>
          </a:p>
          <a:p>
            <a:r>
              <a:rPr lang="en-GB" dirty="0" err="1"/>
              <a:t>Rakennuksissa</a:t>
            </a:r>
            <a:r>
              <a:rPr lang="en-GB" dirty="0"/>
              <a:t> </a:t>
            </a:r>
            <a:r>
              <a:rPr lang="en-GB" dirty="0" err="1"/>
              <a:t>kuluu</a:t>
            </a:r>
            <a:r>
              <a:rPr lang="en-GB" dirty="0"/>
              <a:t> </a:t>
            </a:r>
            <a:r>
              <a:rPr lang="en-GB" dirty="0" err="1"/>
              <a:t>arvion</a:t>
            </a:r>
            <a:r>
              <a:rPr lang="en-GB" dirty="0"/>
              <a:t> </a:t>
            </a:r>
            <a:r>
              <a:rPr lang="en-GB" dirty="0" err="1"/>
              <a:t>mukaan</a:t>
            </a:r>
            <a:r>
              <a:rPr lang="en-GB" dirty="0"/>
              <a:t> 40 % </a:t>
            </a:r>
            <a:r>
              <a:rPr lang="en-GB" dirty="0" err="1"/>
              <a:t>energiasta</a:t>
            </a:r>
            <a:r>
              <a:rPr lang="en-GB" dirty="0"/>
              <a:t> </a:t>
            </a:r>
            <a:r>
              <a:rPr lang="en-GB" dirty="0" err="1"/>
              <a:t>ja</a:t>
            </a:r>
            <a:r>
              <a:rPr lang="en-GB" dirty="0"/>
              <a:t> </a:t>
            </a:r>
            <a:r>
              <a:rPr lang="en-GB" dirty="0" err="1"/>
              <a:t>aiheutuu</a:t>
            </a:r>
            <a:r>
              <a:rPr lang="en-GB" dirty="0"/>
              <a:t> 36 % </a:t>
            </a:r>
            <a:r>
              <a:rPr lang="en-GB" dirty="0" err="1"/>
              <a:t>kasvihuonepäästöistä</a:t>
            </a:r>
            <a:r>
              <a:rPr lang="en-GB" dirty="0"/>
              <a:t> </a:t>
            </a:r>
            <a:r>
              <a:rPr lang="en-GB" dirty="0" err="1"/>
              <a:t>EU:ssa</a:t>
            </a:r>
            <a:endParaRPr lang="en-GB" dirty="0"/>
          </a:p>
          <a:p>
            <a:r>
              <a:rPr lang="en-GB" dirty="0" err="1"/>
              <a:t>Rahoituksen</a:t>
            </a:r>
            <a:r>
              <a:rPr lang="en-GB" dirty="0"/>
              <a:t> </a:t>
            </a:r>
            <a:r>
              <a:rPr lang="en-GB" dirty="0" err="1"/>
              <a:t>saatavuus</a:t>
            </a:r>
            <a:r>
              <a:rPr lang="en-GB" dirty="0"/>
              <a:t> </a:t>
            </a:r>
            <a:r>
              <a:rPr lang="en-GB" dirty="0" err="1"/>
              <a:t>vrt</a:t>
            </a:r>
            <a:r>
              <a:rPr lang="en-GB" dirty="0"/>
              <a:t> </a:t>
            </a:r>
            <a:r>
              <a:rPr lang="en-GB" dirty="0" err="1"/>
              <a:t>pienet</a:t>
            </a:r>
            <a:r>
              <a:rPr lang="en-GB" dirty="0"/>
              <a:t> </a:t>
            </a:r>
            <a:r>
              <a:rPr lang="en-GB" dirty="0" err="1"/>
              <a:t>rivarit</a:t>
            </a:r>
            <a:r>
              <a:rPr lang="en-GB" dirty="0"/>
              <a:t> / </a:t>
            </a:r>
            <a:r>
              <a:rPr lang="en-GB" dirty="0" err="1"/>
              <a:t>huonoimmat</a:t>
            </a:r>
            <a:r>
              <a:rPr lang="en-GB" dirty="0"/>
              <a:t> </a:t>
            </a:r>
            <a:r>
              <a:rPr lang="en-GB" dirty="0" err="1"/>
              <a:t>energialuokat</a:t>
            </a:r>
            <a:endParaRPr lang="en-GB" dirty="0"/>
          </a:p>
          <a:p>
            <a:r>
              <a:rPr lang="en-GB" dirty="0" err="1"/>
              <a:t>Rahoituksen</a:t>
            </a:r>
            <a:r>
              <a:rPr lang="en-GB" dirty="0"/>
              <a:t> </a:t>
            </a:r>
            <a:r>
              <a:rPr lang="en-GB" dirty="0" err="1"/>
              <a:t>hinnan</a:t>
            </a:r>
            <a:r>
              <a:rPr lang="en-GB" dirty="0"/>
              <a:t> </a:t>
            </a:r>
            <a:r>
              <a:rPr lang="en-GB" dirty="0" err="1"/>
              <a:t>muodostuminen</a:t>
            </a:r>
            <a:r>
              <a:rPr lang="en-GB" dirty="0"/>
              <a:t>: </a:t>
            </a:r>
            <a:r>
              <a:rPr lang="en-GB" dirty="0" err="1"/>
              <a:t>kokonaisarvio</a:t>
            </a:r>
            <a:r>
              <a:rPr lang="en-GB" dirty="0"/>
              <a:t> - </a:t>
            </a:r>
            <a:r>
              <a:rPr lang="en-GB" dirty="0" err="1"/>
              <a:t>takaisinmaksukyky</a:t>
            </a:r>
            <a:r>
              <a:rPr lang="en-GB" dirty="0"/>
              <a:t>, </a:t>
            </a:r>
            <a:r>
              <a:rPr lang="en-GB" dirty="0" err="1"/>
              <a:t>sijainti</a:t>
            </a:r>
            <a:r>
              <a:rPr lang="en-GB" dirty="0"/>
              <a:t>, </a:t>
            </a:r>
            <a:r>
              <a:rPr lang="en-GB" dirty="0" err="1"/>
              <a:t>yhtiön</a:t>
            </a:r>
            <a:r>
              <a:rPr lang="en-GB" dirty="0"/>
              <a:t> </a:t>
            </a:r>
            <a:r>
              <a:rPr lang="en-GB" dirty="0" err="1"/>
              <a:t>talous</a:t>
            </a:r>
            <a:r>
              <a:rPr lang="en-GB" dirty="0"/>
              <a:t> </a:t>
            </a:r>
            <a:r>
              <a:rPr lang="en-GB" dirty="0" err="1"/>
              <a:t>ja</a:t>
            </a:r>
            <a:r>
              <a:rPr lang="en-GB" dirty="0"/>
              <a:t> </a:t>
            </a:r>
            <a:r>
              <a:rPr lang="en-GB" dirty="0" err="1"/>
              <a:t>suunnitelmat</a:t>
            </a:r>
            <a:r>
              <a:rPr lang="en-GB" dirty="0"/>
              <a:t> </a:t>
            </a:r>
            <a:r>
              <a:rPr lang="en-GB" dirty="0" err="1"/>
              <a:t>jne</a:t>
            </a:r>
            <a:endParaRPr lang="en-GB" dirty="0"/>
          </a:p>
          <a:p>
            <a:r>
              <a:rPr lang="en-GB" dirty="0" err="1"/>
              <a:t>Vakuusarvostus</a:t>
            </a:r>
            <a:r>
              <a:rPr lang="en-GB" dirty="0"/>
              <a:t>, </a:t>
            </a:r>
            <a:r>
              <a:rPr lang="en-GB" dirty="0" err="1"/>
              <a:t>omaisuuden</a:t>
            </a:r>
            <a:r>
              <a:rPr lang="en-GB" dirty="0"/>
              <a:t> </a:t>
            </a:r>
            <a:r>
              <a:rPr lang="en-GB" dirty="0" err="1"/>
              <a:t>arvon</a:t>
            </a:r>
            <a:r>
              <a:rPr lang="en-GB" dirty="0"/>
              <a:t> </a:t>
            </a:r>
            <a:r>
              <a:rPr lang="en-GB" dirty="0" err="1"/>
              <a:t>säilyvyys</a:t>
            </a:r>
            <a:r>
              <a:rPr lang="en-GB" dirty="0"/>
              <a:t> </a:t>
            </a:r>
          </a:p>
          <a:p>
            <a:r>
              <a:rPr lang="en-GB" dirty="0" err="1"/>
              <a:t>Osakkeiden</a:t>
            </a:r>
            <a:r>
              <a:rPr lang="en-GB" dirty="0"/>
              <a:t> </a:t>
            </a:r>
            <a:r>
              <a:rPr lang="en-GB" dirty="0" err="1"/>
              <a:t>myynti</a:t>
            </a:r>
            <a:r>
              <a:rPr lang="en-GB" dirty="0"/>
              <a:t>, </a:t>
            </a:r>
            <a:r>
              <a:rPr lang="en-GB" dirty="0" err="1"/>
              <a:t>tulevat</a:t>
            </a:r>
            <a:r>
              <a:rPr lang="en-GB" dirty="0"/>
              <a:t> </a:t>
            </a:r>
            <a:r>
              <a:rPr lang="en-GB" dirty="0" err="1"/>
              <a:t>trendit</a:t>
            </a:r>
            <a:r>
              <a:rPr lang="en-GB" dirty="0"/>
              <a:t>, </a:t>
            </a:r>
            <a:r>
              <a:rPr lang="en-GB" dirty="0" err="1"/>
              <a:t>arvot</a:t>
            </a:r>
            <a:endParaRPr lang="en-GB" dirty="0"/>
          </a:p>
          <a:p>
            <a:r>
              <a:rPr lang="en-GB" dirty="0" err="1"/>
              <a:t>Aurinkopaneelit</a:t>
            </a:r>
            <a:r>
              <a:rPr lang="en-GB" dirty="0"/>
              <a:t>, </a:t>
            </a:r>
            <a:r>
              <a:rPr lang="en-GB" dirty="0" err="1"/>
              <a:t>lautauspisteet</a:t>
            </a:r>
            <a:r>
              <a:rPr lang="en-GB" dirty="0"/>
              <a:t>, </a:t>
            </a:r>
            <a:r>
              <a:rPr lang="en-GB" dirty="0" err="1"/>
              <a:t>lämmitys</a:t>
            </a:r>
            <a:r>
              <a:rPr lang="en-GB" dirty="0"/>
              <a:t>/</a:t>
            </a:r>
            <a:r>
              <a:rPr lang="en-GB" dirty="0" err="1"/>
              <a:t>jäähdytys</a:t>
            </a:r>
            <a:endParaRPr lang="en-GB" dirty="0"/>
          </a:p>
          <a:p>
            <a:r>
              <a:rPr lang="en-GB" dirty="0" err="1"/>
              <a:t>Investoinnin</a:t>
            </a:r>
            <a:r>
              <a:rPr lang="en-GB" dirty="0"/>
              <a:t> </a:t>
            </a:r>
            <a:r>
              <a:rPr lang="en-GB" dirty="0" err="1"/>
              <a:t>taloudelliset</a:t>
            </a:r>
            <a:r>
              <a:rPr lang="en-GB" dirty="0"/>
              <a:t> </a:t>
            </a:r>
            <a:r>
              <a:rPr lang="en-GB" dirty="0" err="1"/>
              <a:t>vaikutukset</a:t>
            </a:r>
            <a:r>
              <a:rPr lang="en-GB" dirty="0"/>
              <a:t>: </a:t>
            </a:r>
            <a:r>
              <a:rPr lang="en-GB" dirty="0" err="1"/>
              <a:t>Säästöt</a:t>
            </a:r>
            <a:r>
              <a:rPr lang="en-GB" dirty="0"/>
              <a:t> </a:t>
            </a:r>
            <a:r>
              <a:rPr lang="en-GB" dirty="0" err="1"/>
              <a:t>energiakuluissa</a:t>
            </a:r>
            <a:endParaRPr lang="en-GB" dirty="0"/>
          </a:p>
          <a:p>
            <a:r>
              <a:rPr lang="en-GB" dirty="0" err="1"/>
              <a:t>Korkosuojaus</a:t>
            </a:r>
            <a:r>
              <a:rPr lang="en-GB" dirty="0"/>
              <a:t> </a:t>
            </a:r>
            <a:r>
              <a:rPr lang="en-GB" dirty="0" err="1"/>
              <a:t>ennen</a:t>
            </a:r>
            <a:r>
              <a:rPr lang="en-GB" dirty="0"/>
              <a:t> vs “</a:t>
            </a:r>
            <a:r>
              <a:rPr lang="en-GB" dirty="0" err="1"/>
              <a:t>vihreä</a:t>
            </a:r>
            <a:r>
              <a:rPr lang="en-GB" dirty="0"/>
              <a:t> </a:t>
            </a:r>
            <a:r>
              <a:rPr lang="en-GB" dirty="0" err="1"/>
              <a:t>keskustelu</a:t>
            </a:r>
            <a:r>
              <a:rPr lang="en-GB" dirty="0"/>
              <a:t>” </a:t>
            </a:r>
            <a:r>
              <a:rPr lang="en-GB" dirty="0" err="1"/>
              <a:t>tänä</a:t>
            </a:r>
            <a:r>
              <a:rPr lang="en-GB" dirty="0"/>
              <a:t> </a:t>
            </a:r>
            <a:r>
              <a:rPr lang="en-GB" dirty="0" err="1"/>
              <a:t>päivänä</a:t>
            </a:r>
            <a:endParaRPr lang="en-GB" dirty="0"/>
          </a:p>
          <a:p>
            <a:endParaRPr lang="en-GB" dirty="0"/>
          </a:p>
        </p:txBody>
      </p:sp>
      <p:sp>
        <p:nvSpPr>
          <p:cNvPr id="3" name="Title 2">
            <a:extLst>
              <a:ext uri="{FF2B5EF4-FFF2-40B4-BE49-F238E27FC236}">
                <a16:creationId xmlns:a16="http://schemas.microsoft.com/office/drawing/2014/main" id="{F59978D7-5398-AAE6-8B24-75D847F62ABB}"/>
              </a:ext>
            </a:extLst>
          </p:cNvPr>
          <p:cNvSpPr>
            <a:spLocks noGrp="1"/>
          </p:cNvSpPr>
          <p:nvPr>
            <p:ph type="title"/>
          </p:nvPr>
        </p:nvSpPr>
        <p:spPr/>
        <p:txBody>
          <a:bodyPr/>
          <a:lstStyle/>
          <a:p>
            <a:r>
              <a:rPr lang="en-GB" dirty="0" err="1"/>
              <a:t>Ajatuksia</a:t>
            </a:r>
            <a:r>
              <a:rPr lang="en-GB" dirty="0"/>
              <a:t> </a:t>
            </a:r>
            <a:r>
              <a:rPr lang="en-GB" dirty="0" err="1"/>
              <a:t>aiheen</a:t>
            </a:r>
            <a:r>
              <a:rPr lang="en-GB" dirty="0"/>
              <a:t> </a:t>
            </a:r>
            <a:r>
              <a:rPr lang="en-GB" dirty="0" err="1"/>
              <a:t>ympäriltä</a:t>
            </a:r>
            <a:r>
              <a:rPr lang="en-GB" dirty="0"/>
              <a:t> </a:t>
            </a:r>
          </a:p>
        </p:txBody>
      </p:sp>
      <p:sp>
        <p:nvSpPr>
          <p:cNvPr id="4" name="Slide Number Placeholder 3">
            <a:extLst>
              <a:ext uri="{FF2B5EF4-FFF2-40B4-BE49-F238E27FC236}">
                <a16:creationId xmlns:a16="http://schemas.microsoft.com/office/drawing/2014/main" id="{54E50723-EE74-3749-B95B-15C66FEF4F2C}"/>
              </a:ext>
            </a:extLst>
          </p:cNvPr>
          <p:cNvSpPr>
            <a:spLocks noGrp="1"/>
          </p:cNvSpPr>
          <p:nvPr>
            <p:ph type="sldNum" sz="quarter" idx="12"/>
          </p:nvPr>
        </p:nvSpPr>
        <p:spPr/>
        <p:txBody>
          <a:bodyPr/>
          <a:lstStyle/>
          <a:p>
            <a:fld id="{D14BCCD3-0010-4FBA-B965-2126ADC31932}" type="slidenum">
              <a:rPr lang="en-GB" smtClean="0"/>
              <a:pPr/>
              <a:t>5</a:t>
            </a:fld>
            <a:endParaRPr lang="en-GB" dirty="0"/>
          </a:p>
        </p:txBody>
      </p:sp>
    </p:spTree>
    <p:extLst>
      <p:ext uri="{BB962C8B-B14F-4D97-AF65-F5344CB8AC3E}">
        <p14:creationId xmlns:p14="http://schemas.microsoft.com/office/powerpoint/2010/main" val="21630532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56A0510-E1B3-5CA4-89A0-428E5CB228B8}"/>
              </a:ext>
            </a:extLst>
          </p:cNvPr>
          <p:cNvSpPr>
            <a:spLocks noGrp="1"/>
          </p:cNvSpPr>
          <p:nvPr>
            <p:ph idx="1"/>
          </p:nvPr>
        </p:nvSpPr>
        <p:spPr/>
        <p:txBody>
          <a:bodyPr/>
          <a:lstStyle/>
          <a:p>
            <a:r>
              <a:rPr lang="fi-FI" dirty="0"/>
              <a:t>Pitkän tähtäimen suunnitelma – kerätään tarvittaessa omarahoitusosuutta </a:t>
            </a:r>
            <a:r>
              <a:rPr lang="fi-FI"/>
              <a:t>isoihin hankkeisiin</a:t>
            </a:r>
            <a:endParaRPr lang="fi-FI" dirty="0"/>
          </a:p>
          <a:p>
            <a:r>
              <a:rPr lang="fi-FI" dirty="0"/>
              <a:t>Remontit ajallaan – huomioiden energiatehokkuus</a:t>
            </a:r>
          </a:p>
          <a:p>
            <a:r>
              <a:rPr lang="fi-FI" dirty="0"/>
              <a:t>Taloyhtiön talouden tasapaino</a:t>
            </a:r>
          </a:p>
          <a:p>
            <a:r>
              <a:rPr lang="fi-FI" dirty="0"/>
              <a:t>Suunnitelmallisuus </a:t>
            </a:r>
          </a:p>
        </p:txBody>
      </p:sp>
      <p:sp>
        <p:nvSpPr>
          <p:cNvPr id="3" name="Slide Number Placeholder 2">
            <a:extLst>
              <a:ext uri="{FF2B5EF4-FFF2-40B4-BE49-F238E27FC236}">
                <a16:creationId xmlns:a16="http://schemas.microsoft.com/office/drawing/2014/main" id="{A507829D-087A-BDA1-F8D2-4837993763BD}"/>
              </a:ext>
            </a:extLst>
          </p:cNvPr>
          <p:cNvSpPr>
            <a:spLocks noGrp="1"/>
          </p:cNvSpPr>
          <p:nvPr>
            <p:ph type="sldNum" sz="quarter" idx="12"/>
          </p:nvPr>
        </p:nvSpPr>
        <p:spPr/>
        <p:txBody>
          <a:bodyPr/>
          <a:lstStyle/>
          <a:p>
            <a:fld id="{D14BCCD3-0010-4FBA-B965-2126ADC31932}" type="slidenum">
              <a:rPr lang="en-GB" smtClean="0"/>
              <a:pPr/>
              <a:t>6</a:t>
            </a:fld>
            <a:endParaRPr lang="en-GB" dirty="0"/>
          </a:p>
        </p:txBody>
      </p:sp>
      <p:sp>
        <p:nvSpPr>
          <p:cNvPr id="4" name="Title 3">
            <a:extLst>
              <a:ext uri="{FF2B5EF4-FFF2-40B4-BE49-F238E27FC236}">
                <a16:creationId xmlns:a16="http://schemas.microsoft.com/office/drawing/2014/main" id="{1F26A1BF-D697-0F61-14A3-EA59860AC505}"/>
              </a:ext>
            </a:extLst>
          </p:cNvPr>
          <p:cNvSpPr>
            <a:spLocks noGrp="1"/>
          </p:cNvSpPr>
          <p:nvPr>
            <p:ph type="title"/>
          </p:nvPr>
        </p:nvSpPr>
        <p:spPr/>
        <p:txBody>
          <a:bodyPr/>
          <a:lstStyle/>
          <a:p>
            <a:r>
              <a:rPr lang="fi-FI" dirty="0">
                <a:solidFill>
                  <a:srgbClr val="000000"/>
                </a:solidFill>
                <a:latin typeface="Interstate Reg"/>
              </a:rPr>
              <a:t>P</a:t>
            </a:r>
            <a:r>
              <a:rPr lang="fi-FI" b="1" i="0" dirty="0">
                <a:solidFill>
                  <a:srgbClr val="000000"/>
                </a:solidFill>
                <a:effectLst/>
                <a:latin typeface="Interstate Reg"/>
              </a:rPr>
              <a:t>arempia lainaehtoja + halvempia marginaaleja energiaremontteihin, mutta miten?</a:t>
            </a:r>
            <a:endParaRPr lang="fi-FI" dirty="0"/>
          </a:p>
        </p:txBody>
      </p:sp>
    </p:spTree>
    <p:extLst>
      <p:ext uri="{BB962C8B-B14F-4D97-AF65-F5344CB8AC3E}">
        <p14:creationId xmlns:p14="http://schemas.microsoft.com/office/powerpoint/2010/main" val="35567363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screenshot of a computer&#10;&#10;Description automatically generated">
            <a:extLst>
              <a:ext uri="{FF2B5EF4-FFF2-40B4-BE49-F238E27FC236}">
                <a16:creationId xmlns:a16="http://schemas.microsoft.com/office/drawing/2014/main" id="{9F5B9485-A5D0-973B-C3E8-079DD35BE8E3}"/>
              </a:ext>
            </a:extLst>
          </p:cNvPr>
          <p:cNvPicPr>
            <a:picLocks noGrp="1" noChangeAspect="1"/>
          </p:cNvPicPr>
          <p:nvPr>
            <p:ph idx="1"/>
          </p:nvPr>
        </p:nvPicPr>
        <p:blipFill>
          <a:blip r:embed="rId2"/>
          <a:stretch>
            <a:fillRect/>
          </a:stretch>
        </p:blipFill>
        <p:spPr>
          <a:xfrm>
            <a:off x="562381" y="1080250"/>
            <a:ext cx="7060932" cy="5793207"/>
          </a:xfrm>
        </p:spPr>
      </p:pic>
      <p:sp>
        <p:nvSpPr>
          <p:cNvPr id="3" name="Slide Number Placeholder 2">
            <a:extLst>
              <a:ext uri="{FF2B5EF4-FFF2-40B4-BE49-F238E27FC236}">
                <a16:creationId xmlns:a16="http://schemas.microsoft.com/office/drawing/2014/main" id="{B5AA48E3-5BCD-1626-2BD1-74F6BAA7A4FA}"/>
              </a:ext>
            </a:extLst>
          </p:cNvPr>
          <p:cNvSpPr>
            <a:spLocks noGrp="1"/>
          </p:cNvSpPr>
          <p:nvPr>
            <p:ph type="sldNum" sz="quarter" idx="12"/>
          </p:nvPr>
        </p:nvSpPr>
        <p:spPr/>
        <p:txBody>
          <a:bodyPr/>
          <a:lstStyle/>
          <a:p>
            <a:fld id="{D14BCCD3-0010-4FBA-B965-2126ADC31932}" type="slidenum">
              <a:rPr lang="en-GB" smtClean="0"/>
              <a:pPr/>
              <a:t>7</a:t>
            </a:fld>
            <a:endParaRPr lang="en-GB" dirty="0"/>
          </a:p>
        </p:txBody>
      </p:sp>
      <p:sp>
        <p:nvSpPr>
          <p:cNvPr id="4" name="Title 3">
            <a:extLst>
              <a:ext uri="{FF2B5EF4-FFF2-40B4-BE49-F238E27FC236}">
                <a16:creationId xmlns:a16="http://schemas.microsoft.com/office/drawing/2014/main" id="{B3AA94FE-87FB-FC2B-1E7D-1E77CFDBF375}"/>
              </a:ext>
            </a:extLst>
          </p:cNvPr>
          <p:cNvSpPr>
            <a:spLocks noGrp="1"/>
          </p:cNvSpPr>
          <p:nvPr>
            <p:ph type="title"/>
          </p:nvPr>
        </p:nvSpPr>
        <p:spPr/>
        <p:txBody>
          <a:bodyPr/>
          <a:lstStyle/>
          <a:p>
            <a:r>
              <a:rPr lang="fi-FI" dirty="0">
                <a:hlinkClick r:id="rId3"/>
              </a:rPr>
              <a:t>www.nordea.fi</a:t>
            </a:r>
            <a:r>
              <a:rPr lang="fi-FI" dirty="0"/>
              <a:t> ja VERDE</a:t>
            </a:r>
          </a:p>
        </p:txBody>
      </p:sp>
    </p:spTree>
    <p:extLst>
      <p:ext uri="{BB962C8B-B14F-4D97-AF65-F5344CB8AC3E}">
        <p14:creationId xmlns:p14="http://schemas.microsoft.com/office/powerpoint/2010/main" val="581271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9A2F3DF-9281-D98D-7DF5-4DA64591AE54}"/>
              </a:ext>
            </a:extLst>
          </p:cNvPr>
          <p:cNvSpPr>
            <a:spLocks noGrp="1"/>
          </p:cNvSpPr>
          <p:nvPr>
            <p:ph type="ctrTitle"/>
          </p:nvPr>
        </p:nvSpPr>
        <p:spPr/>
        <p:txBody>
          <a:bodyPr/>
          <a:lstStyle/>
          <a:p>
            <a:r>
              <a:rPr lang="fi-FI" dirty="0"/>
              <a:t>Kiitos		</a:t>
            </a:r>
          </a:p>
        </p:txBody>
      </p:sp>
      <p:sp>
        <p:nvSpPr>
          <p:cNvPr id="6" name="Subtitle 5">
            <a:extLst>
              <a:ext uri="{FF2B5EF4-FFF2-40B4-BE49-F238E27FC236}">
                <a16:creationId xmlns:a16="http://schemas.microsoft.com/office/drawing/2014/main" id="{9174F197-8621-97A0-88A8-898323E242D8}"/>
              </a:ext>
            </a:extLst>
          </p:cNvPr>
          <p:cNvSpPr>
            <a:spLocks noGrp="1"/>
          </p:cNvSpPr>
          <p:nvPr>
            <p:ph type="subTitle" idx="1"/>
          </p:nvPr>
        </p:nvSpPr>
        <p:spPr/>
        <p:txBody>
          <a:bodyPr/>
          <a:lstStyle/>
          <a:p>
            <a:r>
              <a:rPr lang="fi-FI" dirty="0"/>
              <a:t>18.9.2024</a:t>
            </a:r>
          </a:p>
          <a:p>
            <a:r>
              <a:rPr lang="fi-FI" dirty="0"/>
              <a:t>Antti Tolonen</a:t>
            </a:r>
          </a:p>
        </p:txBody>
      </p:sp>
      <p:sp>
        <p:nvSpPr>
          <p:cNvPr id="3" name="Slide Number Placeholder 2">
            <a:extLst>
              <a:ext uri="{FF2B5EF4-FFF2-40B4-BE49-F238E27FC236}">
                <a16:creationId xmlns:a16="http://schemas.microsoft.com/office/drawing/2014/main" id="{783DC52B-61EE-6DD1-7980-77CEE929737F}"/>
              </a:ext>
            </a:extLst>
          </p:cNvPr>
          <p:cNvSpPr>
            <a:spLocks noGrp="1"/>
          </p:cNvSpPr>
          <p:nvPr>
            <p:ph type="sldNum" sz="quarter" idx="4294967295"/>
          </p:nvPr>
        </p:nvSpPr>
        <p:spPr>
          <a:xfrm>
            <a:off x="0" y="6375400"/>
            <a:ext cx="323850" cy="142875"/>
          </a:xfrm>
        </p:spPr>
        <p:txBody>
          <a:bodyPr/>
          <a:lstStyle/>
          <a:p>
            <a:fld id="{D14BCCD3-0010-4FBA-B965-2126ADC31932}" type="slidenum">
              <a:rPr lang="en-GB" smtClean="0"/>
              <a:pPr/>
              <a:t>8</a:t>
            </a:fld>
            <a:endParaRPr lang="en-GB" dirty="0"/>
          </a:p>
        </p:txBody>
      </p:sp>
    </p:spTree>
    <p:extLst>
      <p:ext uri="{BB962C8B-B14F-4D97-AF65-F5344CB8AC3E}">
        <p14:creationId xmlns:p14="http://schemas.microsoft.com/office/powerpoint/2010/main" val="37107266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AG_LANGUAGETEXTBOX" val="E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AG_LANGUAGETEXTBOX" val="Eng"/>
</p:tagLst>
</file>

<file path=ppt/theme/theme1.xml><?xml version="1.0" encoding="utf-8"?>
<a:theme xmlns:a="http://schemas.openxmlformats.org/drawingml/2006/main" name="Nordea">
  <a:themeElements>
    <a:clrScheme name="Nordea">
      <a:dk1>
        <a:sysClr val="windowText" lastClr="000000"/>
      </a:dk1>
      <a:lt1>
        <a:sysClr val="window" lastClr="FFFFFF"/>
      </a:lt1>
      <a:dk2>
        <a:srgbClr val="00005E"/>
      </a:dk2>
      <a:lt2>
        <a:srgbClr val="0000A0"/>
      </a:lt2>
      <a:accent1>
        <a:srgbClr val="00005E"/>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defaul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A3"/>
    </a:custClr>
  </a:custClrLst>
</a:theme>
</file>

<file path=ppt/theme/theme2.xml><?xml version="1.0" encoding="utf-8"?>
<a:theme xmlns:a="http://schemas.openxmlformats.org/drawingml/2006/main" name="3_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A3"/>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368</TotalTime>
  <Words>498</Words>
  <Application>Microsoft Office PowerPoint</Application>
  <PresentationFormat>Custom</PresentationFormat>
  <Paragraphs>66</Paragraphs>
  <Slides>8</Slides>
  <Notes>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9" baseType="lpstr">
      <vt:lpstr>Arial</vt:lpstr>
      <vt:lpstr>Bahnschrift Light Condensed</vt:lpstr>
      <vt:lpstr>Calibri</vt:lpstr>
      <vt:lpstr>Interstate Reg</vt:lpstr>
      <vt:lpstr>Nordea Sans Large Black</vt:lpstr>
      <vt:lpstr>Nordea Sans Large Bold</vt:lpstr>
      <vt:lpstr>Nordea Sans Large Light</vt:lpstr>
      <vt:lpstr>Nordea Sans Small Light</vt:lpstr>
      <vt:lpstr>Nordea</vt:lpstr>
      <vt:lpstr>3_Nordea</vt:lpstr>
      <vt:lpstr>think-cell Slide</vt:lpstr>
      <vt:lpstr>Taloyhtiöiden vihreät lainat ja rahoitus</vt:lpstr>
      <vt:lpstr>Vastuullisuus keskiössä Pitkän aikavälin sitoumukset ja tavoitteet sekä niitä tukevat lyhyen aikavälin tavoitteet</vt:lpstr>
      <vt:lpstr>Rakennusten energiatehokkuusdirektiivi (Energy Performance of Buildings Directive) </vt:lpstr>
      <vt:lpstr>Rakennusten energiatehokkuusdirektiivi </vt:lpstr>
      <vt:lpstr>Ajatuksia aiheen ympäriltä </vt:lpstr>
      <vt:lpstr>Parempia lainaehtoja + halvempia marginaaleja energiaremontteihin, mutta miten?</vt:lpstr>
      <vt:lpstr>www.nordea.fi ja VERDE</vt:lpstr>
      <vt:lpstr>Kiito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ält, Janne</dc:creator>
  <cp:lastModifiedBy>Tolonen, Antti</cp:lastModifiedBy>
  <cp:revision>3</cp:revision>
  <dcterms:created xsi:type="dcterms:W3CDTF">2016-03-23T08:04:09Z</dcterms:created>
  <dcterms:modified xsi:type="dcterms:W3CDTF">2024-09-17T08:5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9f05f8a-3eab-47c1-96ab-5b57ae0de518_Enabled">
    <vt:lpwstr>true</vt:lpwstr>
  </property>
  <property fmtid="{D5CDD505-2E9C-101B-9397-08002B2CF9AE}" pid="3" name="MSIP_Label_b9f05f8a-3eab-47c1-96ab-5b57ae0de518_SetDate">
    <vt:lpwstr>2024-06-12T06:38:11Z</vt:lpwstr>
  </property>
  <property fmtid="{D5CDD505-2E9C-101B-9397-08002B2CF9AE}" pid="4" name="MSIP_Label_b9f05f8a-3eab-47c1-96ab-5b57ae0de518_Method">
    <vt:lpwstr>Privileged</vt:lpwstr>
  </property>
  <property fmtid="{D5CDD505-2E9C-101B-9397-08002B2CF9AE}" pid="5" name="MSIP_Label_b9f05f8a-3eab-47c1-96ab-5b57ae0de518_Name">
    <vt:lpwstr>Internal</vt:lpwstr>
  </property>
  <property fmtid="{D5CDD505-2E9C-101B-9397-08002B2CF9AE}" pid="6" name="MSIP_Label_b9f05f8a-3eab-47c1-96ab-5b57ae0de518_SiteId">
    <vt:lpwstr>8beccd60-0be6-4025-8e24-ca9ae679e1f4</vt:lpwstr>
  </property>
  <property fmtid="{D5CDD505-2E9C-101B-9397-08002B2CF9AE}" pid="7" name="MSIP_Label_b9f05f8a-3eab-47c1-96ab-5b57ae0de518_ActionId">
    <vt:lpwstr>52a5a4a6-03c0-4a28-a040-14b4f0c1adda</vt:lpwstr>
  </property>
  <property fmtid="{D5CDD505-2E9C-101B-9397-08002B2CF9AE}" pid="8" name="MSIP_Label_b9f05f8a-3eab-47c1-96ab-5b57ae0de518_ContentBits">
    <vt:lpwstr>0</vt:lpwstr>
  </property>
</Properties>
</file>